
<file path=[Content_Types].xml><?xml version="1.0" encoding="utf-8"?>
<Types xmlns="http://schemas.openxmlformats.org/package/2006/content-types">
  <Default Extension="bin" ContentType="image/jpeg"/>
  <Default Extension="emf" ContentType="image/x-emf"/>
  <Default Extension="jfif"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4.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notesSlides/notesSlide5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40.xml" ContentType="application/vnd.openxmlformats-officedocument.presentationml.tags+xml"/>
  <Override PartName="/ppt/notesSlides/notesSlide5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6"/>
    <p:sldMasterId id="2147483754" r:id="rId17"/>
  </p:sldMasterIdLst>
  <p:notesMasterIdLst>
    <p:notesMasterId r:id="rId81"/>
  </p:notesMasterIdLst>
  <p:handoutMasterIdLst>
    <p:handoutMasterId r:id="rId82"/>
  </p:handoutMasterIdLst>
  <p:sldIdLst>
    <p:sldId id="260" r:id="rId18"/>
    <p:sldId id="258" r:id="rId19"/>
    <p:sldId id="562" r:id="rId20"/>
    <p:sldId id="561" r:id="rId21"/>
    <p:sldId id="534" r:id="rId22"/>
    <p:sldId id="645" r:id="rId23"/>
    <p:sldId id="646" r:id="rId24"/>
    <p:sldId id="560" r:id="rId25"/>
    <p:sldId id="564" r:id="rId26"/>
    <p:sldId id="565" r:id="rId27"/>
    <p:sldId id="647" r:id="rId28"/>
    <p:sldId id="649" r:id="rId29"/>
    <p:sldId id="569" r:id="rId30"/>
    <p:sldId id="571" r:id="rId31"/>
    <p:sldId id="572" r:id="rId32"/>
    <p:sldId id="650" r:id="rId33"/>
    <p:sldId id="576" r:id="rId34"/>
    <p:sldId id="578" r:id="rId35"/>
    <p:sldId id="579" r:id="rId36"/>
    <p:sldId id="651" r:id="rId37"/>
    <p:sldId id="652" r:id="rId38"/>
    <p:sldId id="583" r:id="rId39"/>
    <p:sldId id="589" r:id="rId40"/>
    <p:sldId id="590" r:id="rId41"/>
    <p:sldId id="653" r:id="rId42"/>
    <p:sldId id="654" r:id="rId43"/>
    <p:sldId id="655" r:id="rId44"/>
    <p:sldId id="656" r:id="rId45"/>
    <p:sldId id="657" r:id="rId46"/>
    <p:sldId id="591" r:id="rId47"/>
    <p:sldId id="658" r:id="rId48"/>
    <p:sldId id="593" r:id="rId49"/>
    <p:sldId id="594" r:id="rId50"/>
    <p:sldId id="595" r:id="rId51"/>
    <p:sldId id="640" r:id="rId52"/>
    <p:sldId id="597" r:id="rId53"/>
    <p:sldId id="598" r:id="rId54"/>
    <p:sldId id="659" r:id="rId55"/>
    <p:sldId id="660" r:id="rId56"/>
    <p:sldId id="667" r:id="rId57"/>
    <p:sldId id="671" r:id="rId58"/>
    <p:sldId id="672" r:id="rId59"/>
    <p:sldId id="662" r:id="rId60"/>
    <p:sldId id="663" r:id="rId61"/>
    <p:sldId id="664" r:id="rId62"/>
    <p:sldId id="676" r:id="rId63"/>
    <p:sldId id="665" r:id="rId64"/>
    <p:sldId id="673" r:id="rId65"/>
    <p:sldId id="674" r:id="rId66"/>
    <p:sldId id="675" r:id="rId67"/>
    <p:sldId id="682" r:id="rId68"/>
    <p:sldId id="666" r:id="rId69"/>
    <p:sldId id="678" r:id="rId70"/>
    <p:sldId id="679" r:id="rId71"/>
    <p:sldId id="680" r:id="rId72"/>
    <p:sldId id="681" r:id="rId73"/>
    <p:sldId id="599" r:id="rId74"/>
    <p:sldId id="602" r:id="rId75"/>
    <p:sldId id="603" r:id="rId76"/>
    <p:sldId id="639" r:id="rId77"/>
    <p:sldId id="638" r:id="rId78"/>
    <p:sldId id="529" r:id="rId79"/>
    <p:sldId id="259" r:id="rId80"/>
  </p:sldIdLst>
  <p:sldSz cx="12192000" cy="6858000"/>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645"/>
            <p14:sldId id="646"/>
            <p14:sldId id="560"/>
          </p14:sldIdLst>
        </p14:section>
        <p14:section name="Lesson2" id="{6F639A05-2893-48A9-A600-6681E43668C4}">
          <p14:sldIdLst>
            <p14:sldId id="564"/>
            <p14:sldId id="565"/>
            <p14:sldId id="647"/>
            <p14:sldId id="649"/>
            <p14:sldId id="569"/>
          </p14:sldIdLst>
        </p14:section>
        <p14:section name="Lesson3" id="{555EB127-B06E-428F-91FE-B308FD5309AF}">
          <p14:sldIdLst>
            <p14:sldId id="571"/>
            <p14:sldId id="572"/>
            <p14:sldId id="650"/>
            <p14:sldId id="576"/>
          </p14:sldIdLst>
        </p14:section>
        <p14:section name="Lesson4" id="{63544ED9-10A0-4C1D-9901-207766AD9BA2}">
          <p14:sldIdLst>
            <p14:sldId id="578"/>
            <p14:sldId id="579"/>
            <p14:sldId id="651"/>
            <p14:sldId id="652"/>
            <p14:sldId id="583"/>
          </p14:sldIdLst>
        </p14:section>
        <p14:section name="Lesson5" id="{D7B769EC-26A6-4530-86A4-A6675E0EA58E}">
          <p14:sldIdLst>
            <p14:sldId id="589"/>
            <p14:sldId id="590"/>
            <p14:sldId id="653"/>
            <p14:sldId id="654"/>
            <p14:sldId id="655"/>
            <p14:sldId id="656"/>
            <p14:sldId id="657"/>
            <p14:sldId id="591"/>
            <p14:sldId id="658"/>
            <p14:sldId id="593"/>
            <p14:sldId id="594"/>
            <p14:sldId id="595"/>
            <p14:sldId id="640"/>
          </p14:sldIdLst>
        </p14:section>
        <p14:section name="Lesson6" id="{2F671395-BDA2-4B2E-9C23-3821CDFFB471}">
          <p14:sldIdLst>
            <p14:sldId id="597"/>
            <p14:sldId id="598"/>
            <p14:sldId id="659"/>
            <p14:sldId id="660"/>
            <p14:sldId id="667"/>
            <p14:sldId id="671"/>
            <p14:sldId id="672"/>
            <p14:sldId id="662"/>
            <p14:sldId id="663"/>
            <p14:sldId id="664"/>
            <p14:sldId id="676"/>
            <p14:sldId id="665"/>
            <p14:sldId id="673"/>
            <p14:sldId id="674"/>
            <p14:sldId id="675"/>
            <p14:sldId id="682"/>
            <p14:sldId id="666"/>
            <p14:sldId id="678"/>
            <p14:sldId id="679"/>
            <p14:sldId id="680"/>
            <p14:sldId id="681"/>
            <p14:sldId id="599"/>
            <p14:sldId id="602"/>
            <p14:sldId id="603"/>
            <p14:sldId id="639"/>
          </p14:sldIdLst>
        </p14:section>
        <p14:section name="End" id="{86A7F3F3-0014-4FB3-BFE9-51D204A66A63}">
          <p14:sldIdLst>
            <p14:sldId id="638"/>
            <p14:sldId id="529"/>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 id="2" name="Renata Festa" initials="RF" lastIdx="4" clrIdx="1">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1BCF81-B5F3-465E-9A54-191A43BF3A4A}" v="4" dt="2020-10-15T20:26:56.8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06" autoAdjust="0"/>
    <p:restoredTop sz="84871" autoAdjust="0"/>
  </p:normalViewPr>
  <p:slideViewPr>
    <p:cSldViewPr showGuides="1">
      <p:cViewPr varScale="1">
        <p:scale>
          <a:sx n="53" d="100"/>
          <a:sy n="53" d="100"/>
        </p:scale>
        <p:origin x="178" y="43"/>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customXml" Target="../customXml/item5.xml"/><Relationship Id="rId90" Type="http://schemas.microsoft.com/office/2015/10/relationships/revisionInfo" Target="revisionInfo.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notesMaster" Target="notesMasters/notesMaster1.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customXml" Target="../customXml/item7.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theme" Target="theme/theme1.xml"/><Relationship Id="rId61" Type="http://schemas.openxmlformats.org/officeDocument/2006/relationships/slide" Target="slides/slide44.xml"/><Relationship Id="rId82" Type="http://schemas.openxmlformats.org/officeDocument/2006/relationships/handoutMaster" Target="handoutMasters/handoutMaster1.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7C0628EE-44AA-48ED-8B1F-8CF81609A9DF}"/>
    <pc:docChg chg="undo custSel modSld">
      <pc:chgData name="Batuhan Yildiz" userId="90f344fc-4655-4923-aeaf-697bba59c1a7" providerId="ADAL" clId="{7C0628EE-44AA-48ED-8B1F-8CF81609A9DF}" dt="2020-05-01T02:09:44.023" v="68" actId="113"/>
      <pc:docMkLst>
        <pc:docMk/>
      </pc:docMkLst>
      <pc:sldChg chg="modNotesTx">
        <pc:chgData name="Batuhan Yildiz" userId="90f344fc-4655-4923-aeaf-697bba59c1a7" providerId="ADAL" clId="{7C0628EE-44AA-48ED-8B1F-8CF81609A9DF}" dt="2020-05-01T02:09:44.023" v="68" actId="113"/>
        <pc:sldMkLst>
          <pc:docMk/>
          <pc:sldMk cId="363707813" sldId="649"/>
        </pc:sldMkLst>
      </pc:sldChg>
      <pc:sldChg chg="delSp modSp mod modShow">
        <pc:chgData name="Batuhan Yildiz" userId="90f344fc-4655-4923-aeaf-697bba59c1a7" providerId="ADAL" clId="{7C0628EE-44AA-48ED-8B1F-8CF81609A9DF}" dt="2020-04-30T20:12:33.141" v="4" actId="478"/>
        <pc:sldMkLst>
          <pc:docMk/>
          <pc:sldMk cId="3931387040" sldId="665"/>
        </pc:sldMkLst>
        <pc:spChg chg="del mod">
          <ac:chgData name="Batuhan Yildiz" userId="90f344fc-4655-4923-aeaf-697bba59c1a7" providerId="ADAL" clId="{7C0628EE-44AA-48ED-8B1F-8CF81609A9DF}" dt="2020-04-30T20:12:33.141" v="4" actId="478"/>
          <ac:spMkLst>
            <pc:docMk/>
            <pc:sldMk cId="3931387040" sldId="665"/>
            <ac:spMk id="3" creationId="{79B219FF-6FC4-478C-A631-69B45BFFA9E6}"/>
          </ac:spMkLst>
        </pc:spChg>
      </pc:sldChg>
      <pc:sldChg chg="modSp mod">
        <pc:chgData name="Batuhan Yildiz" userId="90f344fc-4655-4923-aeaf-697bba59c1a7" providerId="ADAL" clId="{7C0628EE-44AA-48ED-8B1F-8CF81609A9DF}" dt="2020-04-30T20:15:08.626" v="41" actId="20577"/>
        <pc:sldMkLst>
          <pc:docMk/>
          <pc:sldMk cId="596325325" sldId="666"/>
        </pc:sldMkLst>
        <pc:spChg chg="mod">
          <ac:chgData name="Batuhan Yildiz" userId="90f344fc-4655-4923-aeaf-697bba59c1a7" providerId="ADAL" clId="{7C0628EE-44AA-48ED-8B1F-8CF81609A9DF}" dt="2020-04-30T20:15:08.626" v="41" actId="20577"/>
          <ac:spMkLst>
            <pc:docMk/>
            <pc:sldMk cId="596325325" sldId="666"/>
            <ac:spMk id="2" creationId="{3C34EE15-1521-4A1D-A515-EEE54DD625C5}"/>
          </ac:spMkLst>
        </pc:spChg>
      </pc:sldChg>
      <pc:sldChg chg="mod modShow">
        <pc:chgData name="Batuhan Yildiz" userId="90f344fc-4655-4923-aeaf-697bba59c1a7" providerId="ADAL" clId="{7C0628EE-44AA-48ED-8B1F-8CF81609A9DF}" dt="2020-04-30T20:12:45.824" v="5" actId="729"/>
        <pc:sldMkLst>
          <pc:docMk/>
          <pc:sldMk cId="4093399091" sldId="673"/>
        </pc:sldMkLst>
      </pc:sldChg>
      <pc:sldChg chg="mod modShow">
        <pc:chgData name="Batuhan Yildiz" userId="90f344fc-4655-4923-aeaf-697bba59c1a7" providerId="ADAL" clId="{7C0628EE-44AA-48ED-8B1F-8CF81609A9DF}" dt="2020-04-30T20:12:54.808" v="6" actId="729"/>
        <pc:sldMkLst>
          <pc:docMk/>
          <pc:sldMk cId="4213411994" sldId="674"/>
        </pc:sldMkLst>
      </pc:sldChg>
      <pc:sldChg chg="mod modShow">
        <pc:chgData name="Batuhan Yildiz" userId="90f344fc-4655-4923-aeaf-697bba59c1a7" providerId="ADAL" clId="{7C0628EE-44AA-48ED-8B1F-8CF81609A9DF}" dt="2020-04-30T20:13:00.073" v="7" actId="729"/>
        <pc:sldMkLst>
          <pc:docMk/>
          <pc:sldMk cId="2163137392" sldId="675"/>
        </pc:sldMkLst>
      </pc:sldChg>
      <pc:sldChg chg="mod modShow">
        <pc:chgData name="Batuhan Yildiz" userId="90f344fc-4655-4923-aeaf-697bba59c1a7" providerId="ADAL" clId="{7C0628EE-44AA-48ED-8B1F-8CF81609A9DF}" dt="2020-04-30T20:12:14.171" v="0" actId="729"/>
        <pc:sldMkLst>
          <pc:docMk/>
          <pc:sldMk cId="3340101420" sldId="676"/>
        </pc:sldMkLst>
      </pc:sldChg>
      <pc:sldChg chg="modNotesTx">
        <pc:chgData name="Batuhan Yildiz" userId="90f344fc-4655-4923-aeaf-697bba59c1a7" providerId="ADAL" clId="{7C0628EE-44AA-48ED-8B1F-8CF81609A9DF}" dt="2020-05-01T02:02:34.848" v="67" actId="20577"/>
        <pc:sldMkLst>
          <pc:docMk/>
          <pc:sldMk cId="157062869" sldId="682"/>
        </pc:sldMkLst>
      </pc:sldChg>
    </pc:docChg>
  </pc:docChgLst>
  <pc:docChgLst>
    <pc:chgData name="Batuhan Yildiz" userId="90f344fc-4655-4923-aeaf-697bba59c1a7" providerId="ADAL" clId="{09632A31-055A-44F6-B8F7-B2A821344B30}"/>
    <pc:docChg chg="custSel modSld">
      <pc:chgData name="Batuhan Yildiz" userId="90f344fc-4655-4923-aeaf-697bba59c1a7" providerId="ADAL" clId="{09632A31-055A-44F6-B8F7-B2A821344B30}" dt="2020-03-31T01:32:33.468" v="111" actId="1592"/>
      <pc:docMkLst>
        <pc:docMk/>
      </pc:docMkLst>
      <pc:sldChg chg="modSp delCm modNotesTx">
        <pc:chgData name="Batuhan Yildiz" userId="90f344fc-4655-4923-aeaf-697bba59c1a7" providerId="ADAL" clId="{09632A31-055A-44F6-B8F7-B2A821344B30}" dt="2020-03-31T01:32:33.468" v="111" actId="1592"/>
        <pc:sldMkLst>
          <pc:docMk/>
          <pc:sldMk cId="3666777308" sldId="641"/>
        </pc:sldMkLst>
        <pc:graphicFrameChg chg="mod">
          <ac:chgData name="Batuhan Yildiz" userId="90f344fc-4655-4923-aeaf-697bba59c1a7" providerId="ADAL" clId="{09632A31-055A-44F6-B8F7-B2A821344B30}" dt="2020-03-31T01:32:30.766" v="110" actId="14100"/>
          <ac:graphicFrameMkLst>
            <pc:docMk/>
            <pc:sldMk cId="3666777308" sldId="641"/>
            <ac:graphicFrameMk id="3" creationId="{9484E1FE-7534-495E-863C-657A46F5E628}"/>
          </ac:graphicFrameMkLst>
        </pc:graphicFrameChg>
      </pc:sldChg>
      <pc:sldChg chg="modSp delCm modNotesTx">
        <pc:chgData name="Batuhan Yildiz" userId="90f344fc-4655-4923-aeaf-697bba59c1a7" providerId="ADAL" clId="{09632A31-055A-44F6-B8F7-B2A821344B30}" dt="2020-03-31T01:32:10.167" v="88" actId="1592"/>
        <pc:sldMkLst>
          <pc:docMk/>
          <pc:sldMk cId="3389751675" sldId="642"/>
        </pc:sldMkLst>
        <pc:graphicFrameChg chg="mod">
          <ac:chgData name="Batuhan Yildiz" userId="90f344fc-4655-4923-aeaf-697bba59c1a7" providerId="ADAL" clId="{09632A31-055A-44F6-B8F7-B2A821344B30}" dt="2020-03-31T01:32:03.472" v="86" actId="14100"/>
          <ac:graphicFrameMkLst>
            <pc:docMk/>
            <pc:sldMk cId="3389751675" sldId="642"/>
            <ac:graphicFrameMk id="3" creationId="{9484E1FE-7534-495E-863C-657A46F5E628}"/>
          </ac:graphicFrameMkLst>
        </pc:graphicFrameChg>
      </pc:sldChg>
      <pc:sldChg chg="modSp delCm modNotesTx">
        <pc:chgData name="Batuhan Yildiz" userId="90f344fc-4655-4923-aeaf-697bba59c1a7" providerId="ADAL" clId="{09632A31-055A-44F6-B8F7-B2A821344B30}" dt="2020-03-31T01:31:44.157" v="65" actId="1592"/>
        <pc:sldMkLst>
          <pc:docMk/>
          <pc:sldMk cId="274713231" sldId="643"/>
        </pc:sldMkLst>
        <pc:graphicFrameChg chg="mod">
          <ac:chgData name="Batuhan Yildiz" userId="90f344fc-4655-4923-aeaf-697bba59c1a7" providerId="ADAL" clId="{09632A31-055A-44F6-B8F7-B2A821344B30}" dt="2020-03-31T01:31:36.745" v="63" actId="14100"/>
          <ac:graphicFrameMkLst>
            <pc:docMk/>
            <pc:sldMk cId="274713231" sldId="643"/>
            <ac:graphicFrameMk id="3" creationId="{9484E1FE-7534-495E-863C-657A46F5E628}"/>
          </ac:graphicFrameMkLst>
        </pc:graphicFrameChg>
      </pc:sldChg>
      <pc:sldChg chg="modSp delCm modNotesTx">
        <pc:chgData name="Batuhan Yildiz" userId="90f344fc-4655-4923-aeaf-697bba59c1a7" providerId="ADAL" clId="{09632A31-055A-44F6-B8F7-B2A821344B30}" dt="2020-03-31T01:31:15.309" v="40" actId="1592"/>
        <pc:sldMkLst>
          <pc:docMk/>
          <pc:sldMk cId="1434385646" sldId="644"/>
        </pc:sldMkLst>
        <pc:graphicFrameChg chg="mod">
          <ac:chgData name="Batuhan Yildiz" userId="90f344fc-4655-4923-aeaf-697bba59c1a7" providerId="ADAL" clId="{09632A31-055A-44F6-B8F7-B2A821344B30}" dt="2020-03-31T01:30:58.679" v="25" actId="14100"/>
          <ac:graphicFrameMkLst>
            <pc:docMk/>
            <pc:sldMk cId="1434385646" sldId="644"/>
            <ac:graphicFrameMk id="3" creationId="{9484E1FE-7534-495E-863C-657A46F5E628}"/>
          </ac:graphicFrameMkLst>
        </pc:graphicFrameChg>
      </pc:sldChg>
      <pc:sldChg chg="modSp">
        <pc:chgData name="Batuhan Yildiz" userId="90f344fc-4655-4923-aeaf-697bba59c1a7" providerId="ADAL" clId="{09632A31-055A-44F6-B8F7-B2A821344B30}" dt="2020-03-31T01:24:05.280" v="0" actId="12100"/>
        <pc:sldMkLst>
          <pc:docMk/>
          <pc:sldMk cId="2305532375" sldId="654"/>
        </pc:sldMkLst>
        <pc:graphicFrameChg chg="mod">
          <ac:chgData name="Batuhan Yildiz" userId="90f344fc-4655-4923-aeaf-697bba59c1a7" providerId="ADAL" clId="{09632A31-055A-44F6-B8F7-B2A821344B30}" dt="2020-03-31T01:24:05.280" v="0" actId="12100"/>
          <ac:graphicFrameMkLst>
            <pc:docMk/>
            <pc:sldMk cId="2305532375" sldId="654"/>
            <ac:graphicFrameMk id="5" creationId="{B5A47BF8-1D57-44BA-817D-6167064F63CB}"/>
          </ac:graphicFrameMkLst>
        </pc:graphicFrameChg>
      </pc:sldChg>
      <pc:sldChg chg="modSp">
        <pc:chgData name="Batuhan Yildiz" userId="90f344fc-4655-4923-aeaf-697bba59c1a7" providerId="ADAL" clId="{09632A31-055A-44F6-B8F7-B2A821344B30}" dt="2020-03-31T01:24:34.242" v="1" actId="12100"/>
        <pc:sldMkLst>
          <pc:docMk/>
          <pc:sldMk cId="646150412" sldId="656"/>
        </pc:sldMkLst>
        <pc:graphicFrameChg chg="mod">
          <ac:chgData name="Batuhan Yildiz" userId="90f344fc-4655-4923-aeaf-697bba59c1a7" providerId="ADAL" clId="{09632A31-055A-44F6-B8F7-B2A821344B30}" dt="2020-03-31T01:24:34.242" v="1" actId="12100"/>
          <ac:graphicFrameMkLst>
            <pc:docMk/>
            <pc:sldMk cId="646150412" sldId="656"/>
            <ac:graphicFrameMk id="9" creationId="{7E715B14-9A09-483D-81C8-CF015F65785C}"/>
          </ac:graphicFrameMkLst>
        </pc:graphicFrameChg>
      </pc:sldChg>
      <pc:sldChg chg="modSp">
        <pc:chgData name="Batuhan Yildiz" userId="90f344fc-4655-4923-aeaf-697bba59c1a7" providerId="ADAL" clId="{09632A31-055A-44F6-B8F7-B2A821344B30}" dt="2020-03-31T01:25:05.614" v="2" actId="12100"/>
        <pc:sldMkLst>
          <pc:docMk/>
          <pc:sldMk cId="2461294574" sldId="658"/>
        </pc:sldMkLst>
        <pc:graphicFrameChg chg="mod">
          <ac:chgData name="Batuhan Yildiz" userId="90f344fc-4655-4923-aeaf-697bba59c1a7" providerId="ADAL" clId="{09632A31-055A-44F6-B8F7-B2A821344B30}" dt="2020-03-31T01:25:05.614" v="2" actId="12100"/>
          <ac:graphicFrameMkLst>
            <pc:docMk/>
            <pc:sldMk cId="2461294574" sldId="658"/>
            <ac:graphicFrameMk id="5" creationId="{C7B83044-65FE-4554-B867-6306C484CFB7}"/>
          </ac:graphicFrameMkLst>
        </pc:graphicFrameChg>
      </pc:sldChg>
      <pc:sldChg chg="modSp">
        <pc:chgData name="Batuhan Yildiz" userId="90f344fc-4655-4923-aeaf-697bba59c1a7" providerId="ADAL" clId="{09632A31-055A-44F6-B8F7-B2A821344B30}" dt="2020-03-31T01:27:56.321" v="4" actId="14100"/>
        <pc:sldMkLst>
          <pc:docMk/>
          <pc:sldMk cId="3340101420" sldId="676"/>
        </pc:sldMkLst>
        <pc:graphicFrameChg chg="mod">
          <ac:chgData name="Batuhan Yildiz" userId="90f344fc-4655-4923-aeaf-697bba59c1a7" providerId="ADAL" clId="{09632A31-055A-44F6-B8F7-B2A821344B30}" dt="2020-03-31T01:27:56.321" v="4" actId="14100"/>
          <ac:graphicFrameMkLst>
            <pc:docMk/>
            <pc:sldMk cId="3340101420" sldId="676"/>
            <ac:graphicFrameMk id="4" creationId="{33D6C512-F71A-49D9-8388-4A4DDA44686E}"/>
          </ac:graphicFrameMkLst>
        </pc:graphicFrameChg>
      </pc:sldChg>
    </pc:docChg>
  </pc:docChgLst>
  <pc:docChgLst>
    <pc:chgData name="Rizwan Hassan" userId="04ec4a88-24aa-4abd-b901-af898e55845d" providerId="ADAL" clId="{651BCF81-B5F3-465E-9A54-191A43BF3A4A}"/>
    <pc:docChg chg="modSld">
      <pc:chgData name="Rizwan Hassan" userId="04ec4a88-24aa-4abd-b901-af898e55845d" providerId="ADAL" clId="{651BCF81-B5F3-465E-9A54-191A43BF3A4A}" dt="2020-10-15T20:26:56.812" v="5" actId="20577"/>
      <pc:docMkLst>
        <pc:docMk/>
      </pc:docMkLst>
      <pc:sldChg chg="modSp mod">
        <pc:chgData name="Rizwan Hassan" userId="04ec4a88-24aa-4abd-b901-af898e55845d" providerId="ADAL" clId="{651BCF81-B5F3-465E-9A54-191A43BF3A4A}" dt="2020-10-15T20:26:56.812" v="5" actId="20577"/>
        <pc:sldMkLst>
          <pc:docMk/>
          <pc:sldMk cId="2305532375" sldId="654"/>
        </pc:sldMkLst>
        <pc:spChg chg="mod">
          <ac:chgData name="Rizwan Hassan" userId="04ec4a88-24aa-4abd-b901-af898e55845d" providerId="ADAL" clId="{651BCF81-B5F3-465E-9A54-191A43BF3A4A}" dt="2020-10-15T20:26:46.085" v="1" actId="20577"/>
          <ac:spMkLst>
            <pc:docMk/>
            <pc:sldMk cId="2305532375" sldId="654"/>
            <ac:spMk id="2" creationId="{7F724C39-08AB-425C-862A-8F64BC3621E6}"/>
          </ac:spMkLst>
        </pc:spChg>
        <pc:graphicFrameChg chg="mod">
          <ac:chgData name="Rizwan Hassan" userId="04ec4a88-24aa-4abd-b901-af898e55845d" providerId="ADAL" clId="{651BCF81-B5F3-465E-9A54-191A43BF3A4A}" dt="2020-10-15T20:26:56.812" v="5" actId="20577"/>
          <ac:graphicFrameMkLst>
            <pc:docMk/>
            <pc:sldMk cId="2305532375" sldId="654"/>
            <ac:graphicFrameMk id="5" creationId="{B5A47BF8-1D57-44BA-817D-6167064F63CB}"/>
          </ac:graphicFrameMkLst>
        </pc:graphicFrameChg>
      </pc:sldChg>
    </pc:docChg>
  </pc:docChgLst>
  <pc:docChgLst>
    <pc:chgData name="Renata Festa" userId="6f22df47-533b-4c2a-a3c1-7f9ad1d63e10" providerId="ADAL" clId="{7C089C3E-F5BE-4CA8-B83E-9B6651B60167}"/>
    <pc:docChg chg="undo custSel mod addSld delSld modSld sldOrd modSection">
      <pc:chgData name="Renata Festa" userId="6f22df47-533b-4c2a-a3c1-7f9ad1d63e10" providerId="ADAL" clId="{7C089C3E-F5BE-4CA8-B83E-9B6651B60167}" dt="2020-03-30T19:01:41.540" v="938"/>
      <pc:docMkLst>
        <pc:docMk/>
      </pc:docMkLst>
      <pc:sldChg chg="del">
        <pc:chgData name="Renata Festa" userId="6f22df47-533b-4c2a-a3c1-7f9ad1d63e10" providerId="ADAL" clId="{7C089C3E-F5BE-4CA8-B83E-9B6651B60167}" dt="2020-03-30T16:48:51.988" v="102" actId="47"/>
        <pc:sldMkLst>
          <pc:docMk/>
          <pc:sldMk cId="3235270007" sldId="257"/>
        </pc:sldMkLst>
      </pc:sldChg>
      <pc:sldChg chg="addSp">
        <pc:chgData name="Renata Festa" userId="6f22df47-533b-4c2a-a3c1-7f9ad1d63e10" providerId="ADAL" clId="{7C089C3E-F5BE-4CA8-B83E-9B6651B60167}" dt="2020-03-26T20:37:24.411" v="0"/>
        <pc:sldMkLst>
          <pc:docMk/>
          <pc:sldMk cId="1196121053" sldId="260"/>
        </pc:sldMkLst>
        <pc:spChg chg="add">
          <ac:chgData name="Renata Festa" userId="6f22df47-533b-4c2a-a3c1-7f9ad1d63e10" providerId="ADAL" clId="{7C089C3E-F5BE-4CA8-B83E-9B6651B60167}" dt="2020-03-26T20:37:24.411" v="0"/>
          <ac:spMkLst>
            <pc:docMk/>
            <pc:sldMk cId="1196121053" sldId="260"/>
            <ac:spMk id="16" creationId="{87F8E62B-4DF1-41E6-9516-C40C750AE11A}"/>
          </ac:spMkLst>
        </pc:spChg>
        <pc:grpChg chg="add">
          <ac:chgData name="Renata Festa" userId="6f22df47-533b-4c2a-a3c1-7f9ad1d63e10" providerId="ADAL" clId="{7C089C3E-F5BE-4CA8-B83E-9B6651B60167}" dt="2020-03-26T20:37:24.411" v="0"/>
          <ac:grpSpMkLst>
            <pc:docMk/>
            <pc:sldMk cId="1196121053" sldId="260"/>
            <ac:grpSpMk id="7" creationId="{7ADCD1CA-9D43-4192-BDBD-3C3625DD5808}"/>
          </ac:grpSpMkLst>
        </pc:grpChg>
      </pc:sldChg>
      <pc:sldChg chg="del">
        <pc:chgData name="Renata Festa" userId="6f22df47-533b-4c2a-a3c1-7f9ad1d63e10" providerId="ADAL" clId="{7C089C3E-F5BE-4CA8-B83E-9B6651B60167}" dt="2020-03-30T16:48:51.988" v="102" actId="47"/>
        <pc:sldMkLst>
          <pc:docMk/>
          <pc:sldMk cId="4267675391" sldId="531"/>
        </pc:sldMkLst>
      </pc:sldChg>
      <pc:sldChg chg="del">
        <pc:chgData name="Renata Festa" userId="6f22df47-533b-4c2a-a3c1-7f9ad1d63e10" providerId="ADAL" clId="{7C089C3E-F5BE-4CA8-B83E-9B6651B60167}" dt="2020-03-30T16:48:51.988" v="102" actId="47"/>
        <pc:sldMkLst>
          <pc:docMk/>
          <pc:sldMk cId="1861621179" sldId="535"/>
        </pc:sldMkLst>
      </pc:sldChg>
      <pc:sldChg chg="del">
        <pc:chgData name="Renata Festa" userId="6f22df47-533b-4c2a-a3c1-7f9ad1d63e10" providerId="ADAL" clId="{7C089C3E-F5BE-4CA8-B83E-9B6651B60167}" dt="2020-03-30T16:49:20.083" v="106" actId="47"/>
        <pc:sldMkLst>
          <pc:docMk/>
          <pc:sldMk cId="3735096506" sldId="563"/>
        </pc:sldMkLst>
      </pc:sldChg>
      <pc:sldChg chg="del">
        <pc:chgData name="Renata Festa" userId="6f22df47-533b-4c2a-a3c1-7f9ad1d63e10" providerId="ADAL" clId="{7C089C3E-F5BE-4CA8-B83E-9B6651B60167}" dt="2020-03-30T16:53:45.848" v="157" actId="47"/>
        <pc:sldMkLst>
          <pc:docMk/>
          <pc:sldMk cId="4221783869" sldId="566"/>
        </pc:sldMkLst>
      </pc:sldChg>
      <pc:sldChg chg="del">
        <pc:chgData name="Renata Festa" userId="6f22df47-533b-4c2a-a3c1-7f9ad1d63e10" providerId="ADAL" clId="{7C089C3E-F5BE-4CA8-B83E-9B6651B60167}" dt="2020-03-30T16:53:45.848" v="157" actId="47"/>
        <pc:sldMkLst>
          <pc:docMk/>
          <pc:sldMk cId="670385602" sldId="567"/>
        </pc:sldMkLst>
      </pc:sldChg>
      <pc:sldChg chg="del">
        <pc:chgData name="Renata Festa" userId="6f22df47-533b-4c2a-a3c1-7f9ad1d63e10" providerId="ADAL" clId="{7C089C3E-F5BE-4CA8-B83E-9B6651B60167}" dt="2020-03-30T16:53:45.848" v="157" actId="47"/>
        <pc:sldMkLst>
          <pc:docMk/>
          <pc:sldMk cId="2147177822" sldId="568"/>
        </pc:sldMkLst>
      </pc:sldChg>
      <pc:sldChg chg="del">
        <pc:chgData name="Renata Festa" userId="6f22df47-533b-4c2a-a3c1-7f9ad1d63e10" providerId="ADAL" clId="{7C089C3E-F5BE-4CA8-B83E-9B6651B60167}" dt="2020-03-30T16:54:05.796" v="161" actId="47"/>
        <pc:sldMkLst>
          <pc:docMk/>
          <pc:sldMk cId="2346840044" sldId="570"/>
        </pc:sldMkLst>
      </pc:sldChg>
      <pc:sldChg chg="del">
        <pc:chgData name="Renata Festa" userId="6f22df47-533b-4c2a-a3c1-7f9ad1d63e10" providerId="ADAL" clId="{7C089C3E-F5BE-4CA8-B83E-9B6651B60167}" dt="2020-03-30T16:55:12.508" v="172" actId="47"/>
        <pc:sldMkLst>
          <pc:docMk/>
          <pc:sldMk cId="4248838292" sldId="573"/>
        </pc:sldMkLst>
      </pc:sldChg>
      <pc:sldChg chg="del">
        <pc:chgData name="Renata Festa" userId="6f22df47-533b-4c2a-a3c1-7f9ad1d63e10" providerId="ADAL" clId="{7C089C3E-F5BE-4CA8-B83E-9B6651B60167}" dt="2020-03-30T16:55:12.508" v="172" actId="47"/>
        <pc:sldMkLst>
          <pc:docMk/>
          <pc:sldMk cId="1487953619" sldId="574"/>
        </pc:sldMkLst>
      </pc:sldChg>
      <pc:sldChg chg="del">
        <pc:chgData name="Renata Festa" userId="6f22df47-533b-4c2a-a3c1-7f9ad1d63e10" providerId="ADAL" clId="{7C089C3E-F5BE-4CA8-B83E-9B6651B60167}" dt="2020-03-30T16:55:12.508" v="172" actId="47"/>
        <pc:sldMkLst>
          <pc:docMk/>
          <pc:sldMk cId="3563492871" sldId="575"/>
        </pc:sldMkLst>
      </pc:sldChg>
      <pc:sldChg chg="del">
        <pc:chgData name="Renata Festa" userId="6f22df47-533b-4c2a-a3c1-7f9ad1d63e10" providerId="ADAL" clId="{7C089C3E-F5BE-4CA8-B83E-9B6651B60167}" dt="2020-03-30T16:55:35.212" v="176" actId="47"/>
        <pc:sldMkLst>
          <pc:docMk/>
          <pc:sldMk cId="4206133277" sldId="577"/>
        </pc:sldMkLst>
      </pc:sldChg>
      <pc:sldChg chg="modSp mod modNotesTx">
        <pc:chgData name="Renata Festa" userId="6f22df47-533b-4c2a-a3c1-7f9ad1d63e10" providerId="ADAL" clId="{7C089C3E-F5BE-4CA8-B83E-9B6651B60167}" dt="2020-03-30T16:56:22.539" v="181" actId="20577"/>
        <pc:sldMkLst>
          <pc:docMk/>
          <pc:sldMk cId="2382994021" sldId="579"/>
        </pc:sldMkLst>
        <pc:spChg chg="mod">
          <ac:chgData name="Renata Festa" userId="6f22df47-533b-4c2a-a3c1-7f9ad1d63e10" providerId="ADAL" clId="{7C089C3E-F5BE-4CA8-B83E-9B6651B60167}" dt="2020-03-30T16:56:12.762" v="179" actId="313"/>
          <ac:spMkLst>
            <pc:docMk/>
            <pc:sldMk cId="2382994021" sldId="579"/>
            <ac:spMk id="5" creationId="{55182462-DFDF-4D48-A92C-42FD52821C4E}"/>
          </ac:spMkLst>
        </pc:spChg>
      </pc:sldChg>
      <pc:sldChg chg="del">
        <pc:chgData name="Renata Festa" userId="6f22df47-533b-4c2a-a3c1-7f9ad1d63e10" providerId="ADAL" clId="{7C089C3E-F5BE-4CA8-B83E-9B6651B60167}" dt="2020-03-30T17:00:51.982" v="244" actId="47"/>
        <pc:sldMkLst>
          <pc:docMk/>
          <pc:sldMk cId="3847515031" sldId="580"/>
        </pc:sldMkLst>
      </pc:sldChg>
      <pc:sldChg chg="del">
        <pc:chgData name="Renata Festa" userId="6f22df47-533b-4c2a-a3c1-7f9ad1d63e10" providerId="ADAL" clId="{7C089C3E-F5BE-4CA8-B83E-9B6651B60167}" dt="2020-03-30T17:00:53.347" v="246" actId="47"/>
        <pc:sldMkLst>
          <pc:docMk/>
          <pc:sldMk cId="3638635031" sldId="581"/>
        </pc:sldMkLst>
      </pc:sldChg>
      <pc:sldChg chg="del">
        <pc:chgData name="Renata Festa" userId="6f22df47-533b-4c2a-a3c1-7f9ad1d63e10" providerId="ADAL" clId="{7C089C3E-F5BE-4CA8-B83E-9B6651B60167}" dt="2020-03-30T17:00:54.278" v="247" actId="47"/>
        <pc:sldMkLst>
          <pc:docMk/>
          <pc:sldMk cId="4165669708" sldId="582"/>
        </pc:sldMkLst>
      </pc:sldChg>
      <pc:sldChg chg="del">
        <pc:chgData name="Renata Festa" userId="6f22df47-533b-4c2a-a3c1-7f9ad1d63e10" providerId="ADAL" clId="{7C089C3E-F5BE-4CA8-B83E-9B6651B60167}" dt="2020-03-30T17:00:57.853" v="248" actId="47"/>
        <pc:sldMkLst>
          <pc:docMk/>
          <pc:sldMk cId="3326970067" sldId="584"/>
        </pc:sldMkLst>
      </pc:sldChg>
      <pc:sldChg chg="del">
        <pc:chgData name="Renata Festa" userId="6f22df47-533b-4c2a-a3c1-7f9ad1d63e10" providerId="ADAL" clId="{7C089C3E-F5BE-4CA8-B83E-9B6651B60167}" dt="2020-03-30T16:48:51.988" v="102" actId="47"/>
        <pc:sldMkLst>
          <pc:docMk/>
          <pc:sldMk cId="3372985199" sldId="585"/>
        </pc:sldMkLst>
      </pc:sldChg>
      <pc:sldChg chg="del">
        <pc:chgData name="Renata Festa" userId="6f22df47-533b-4c2a-a3c1-7f9ad1d63e10" providerId="ADAL" clId="{7C089C3E-F5BE-4CA8-B83E-9B6651B60167}" dt="2020-03-30T16:53:45.848" v="157" actId="47"/>
        <pc:sldMkLst>
          <pc:docMk/>
          <pc:sldMk cId="2607320393" sldId="586"/>
        </pc:sldMkLst>
      </pc:sldChg>
      <pc:sldChg chg="del">
        <pc:chgData name="Renata Festa" userId="6f22df47-533b-4c2a-a3c1-7f9ad1d63e10" providerId="ADAL" clId="{7C089C3E-F5BE-4CA8-B83E-9B6651B60167}" dt="2020-03-30T16:55:12.508" v="172" actId="47"/>
        <pc:sldMkLst>
          <pc:docMk/>
          <pc:sldMk cId="2855973961" sldId="587"/>
        </pc:sldMkLst>
      </pc:sldChg>
      <pc:sldChg chg="del">
        <pc:chgData name="Renata Festa" userId="6f22df47-533b-4c2a-a3c1-7f9ad1d63e10" providerId="ADAL" clId="{7C089C3E-F5BE-4CA8-B83E-9B6651B60167}" dt="2020-03-30T17:00:52.930" v="245" actId="47"/>
        <pc:sldMkLst>
          <pc:docMk/>
          <pc:sldMk cId="1206691497" sldId="588"/>
        </pc:sldMkLst>
      </pc:sldChg>
      <pc:sldChg chg="addSp delSp modSp mod modAnim">
        <pc:chgData name="Renata Festa" userId="6f22df47-533b-4c2a-a3c1-7f9ad1d63e10" providerId="ADAL" clId="{7C089C3E-F5BE-4CA8-B83E-9B6651B60167}" dt="2020-03-30T17:19:39.174" v="447"/>
        <pc:sldMkLst>
          <pc:docMk/>
          <pc:sldMk cId="3959608542" sldId="591"/>
        </pc:sldMkLst>
        <pc:spChg chg="mod">
          <ac:chgData name="Renata Festa" userId="6f22df47-533b-4c2a-a3c1-7f9ad1d63e10" providerId="ADAL" clId="{7C089C3E-F5BE-4CA8-B83E-9B6651B60167}" dt="2020-03-30T17:18:31.540" v="429" actId="20577"/>
          <ac:spMkLst>
            <pc:docMk/>
            <pc:sldMk cId="3959608542" sldId="591"/>
            <ac:spMk id="2" creationId="{EB67312A-9819-43C6-8D84-D9136E6CFFCC}"/>
          </ac:spMkLst>
        </pc:spChg>
        <pc:spChg chg="del">
          <ac:chgData name="Renata Festa" userId="6f22df47-533b-4c2a-a3c1-7f9ad1d63e10" providerId="ADAL" clId="{7C089C3E-F5BE-4CA8-B83E-9B6651B60167}" dt="2020-03-30T17:18:34.420" v="430" actId="478"/>
          <ac:spMkLst>
            <pc:docMk/>
            <pc:sldMk cId="3959608542" sldId="591"/>
            <ac:spMk id="3" creationId="{F35E8CBB-5A7D-4DEF-BAF7-8DD5D042F9E0}"/>
          </ac:spMkLst>
        </pc:spChg>
        <pc:spChg chg="del mod">
          <ac:chgData name="Renata Festa" userId="6f22df47-533b-4c2a-a3c1-7f9ad1d63e10" providerId="ADAL" clId="{7C089C3E-F5BE-4CA8-B83E-9B6651B60167}" dt="2020-03-30T17:19:19.728" v="440" actId="12084"/>
          <ac:spMkLst>
            <pc:docMk/>
            <pc:sldMk cId="3959608542" sldId="591"/>
            <ac:spMk id="4" creationId="{F3616A99-090F-45E1-9334-58D58B148205}"/>
          </ac:spMkLst>
        </pc:spChg>
        <pc:graphicFrameChg chg="add mod">
          <ac:chgData name="Renata Festa" userId="6f22df47-533b-4c2a-a3c1-7f9ad1d63e10" providerId="ADAL" clId="{7C089C3E-F5BE-4CA8-B83E-9B6651B60167}" dt="2020-03-30T17:19:19.728" v="440" actId="12084"/>
          <ac:graphicFrameMkLst>
            <pc:docMk/>
            <pc:sldMk cId="3959608542" sldId="591"/>
            <ac:graphicFrameMk id="10" creationId="{57975C16-59A4-41E6-A7F0-BAFC8A4ABDE7}"/>
          </ac:graphicFrameMkLst>
        </pc:graphicFrameChg>
        <pc:picChg chg="add mod">
          <ac:chgData name="Renata Festa" userId="6f22df47-533b-4c2a-a3c1-7f9ad1d63e10" providerId="ADAL" clId="{7C089C3E-F5BE-4CA8-B83E-9B6651B60167}" dt="2020-03-30T17:19:06.836" v="439" actId="1076"/>
          <ac:picMkLst>
            <pc:docMk/>
            <pc:sldMk cId="3959608542" sldId="591"/>
            <ac:picMk id="5" creationId="{FC7D396D-1383-4A9C-B3F0-CE1F09D45C04}"/>
          </ac:picMkLst>
        </pc:picChg>
        <pc:picChg chg="add mod">
          <ac:chgData name="Renata Festa" userId="6f22df47-533b-4c2a-a3c1-7f9ad1d63e10" providerId="ADAL" clId="{7C089C3E-F5BE-4CA8-B83E-9B6651B60167}" dt="2020-03-30T17:19:06.836" v="439" actId="1076"/>
          <ac:picMkLst>
            <pc:docMk/>
            <pc:sldMk cId="3959608542" sldId="591"/>
            <ac:picMk id="6" creationId="{1DCDE5F2-355F-44EE-A899-C1FBF67FD132}"/>
          </ac:picMkLst>
        </pc:picChg>
        <pc:picChg chg="add mod">
          <ac:chgData name="Renata Festa" userId="6f22df47-533b-4c2a-a3c1-7f9ad1d63e10" providerId="ADAL" clId="{7C089C3E-F5BE-4CA8-B83E-9B6651B60167}" dt="2020-03-30T17:19:06.836" v="439" actId="1076"/>
          <ac:picMkLst>
            <pc:docMk/>
            <pc:sldMk cId="3959608542" sldId="591"/>
            <ac:picMk id="7" creationId="{5EA30AF7-B3FA-42B0-AE54-5F845456C084}"/>
          </ac:picMkLst>
        </pc:picChg>
        <pc:picChg chg="add mod">
          <ac:chgData name="Renata Festa" userId="6f22df47-533b-4c2a-a3c1-7f9ad1d63e10" providerId="ADAL" clId="{7C089C3E-F5BE-4CA8-B83E-9B6651B60167}" dt="2020-03-30T17:19:06.836" v="439" actId="1076"/>
          <ac:picMkLst>
            <pc:docMk/>
            <pc:sldMk cId="3959608542" sldId="591"/>
            <ac:picMk id="8" creationId="{537583A3-CE3E-43D1-85AC-E5BA95B8DE93}"/>
          </ac:picMkLst>
        </pc:picChg>
        <pc:picChg chg="add mod">
          <ac:chgData name="Renata Festa" userId="6f22df47-533b-4c2a-a3c1-7f9ad1d63e10" providerId="ADAL" clId="{7C089C3E-F5BE-4CA8-B83E-9B6651B60167}" dt="2020-03-30T17:19:06.836" v="439" actId="1076"/>
          <ac:picMkLst>
            <pc:docMk/>
            <pc:sldMk cId="3959608542" sldId="591"/>
            <ac:picMk id="9" creationId="{7F5E3E18-8959-4E50-AB21-5088DB27693F}"/>
          </ac:picMkLst>
        </pc:picChg>
      </pc:sldChg>
      <pc:sldChg chg="del">
        <pc:chgData name="Renata Festa" userId="6f22df47-533b-4c2a-a3c1-7f9ad1d63e10" providerId="ADAL" clId="{7C089C3E-F5BE-4CA8-B83E-9B6651B60167}" dt="2020-03-30T17:20:46.165" v="460" actId="47"/>
        <pc:sldMkLst>
          <pc:docMk/>
          <pc:sldMk cId="316402804" sldId="592"/>
        </pc:sldMkLst>
      </pc:sldChg>
      <pc:sldChg chg="modSp mod">
        <pc:chgData name="Renata Festa" userId="6f22df47-533b-4c2a-a3c1-7f9ad1d63e10" providerId="ADAL" clId="{7C089C3E-F5BE-4CA8-B83E-9B6651B60167}" dt="2020-03-30T17:21:08.195" v="469" actId="20577"/>
        <pc:sldMkLst>
          <pc:docMk/>
          <pc:sldMk cId="2401107922" sldId="593"/>
        </pc:sldMkLst>
        <pc:spChg chg="mod">
          <ac:chgData name="Renata Festa" userId="6f22df47-533b-4c2a-a3c1-7f9ad1d63e10" providerId="ADAL" clId="{7C089C3E-F5BE-4CA8-B83E-9B6651B60167}" dt="2020-03-30T17:20:59.602" v="465" actId="20577"/>
          <ac:spMkLst>
            <pc:docMk/>
            <pc:sldMk cId="2401107922" sldId="593"/>
            <ac:spMk id="3" creationId="{8F64A22E-2B43-4FC6-AF08-0CDB3F9E9269}"/>
          </ac:spMkLst>
        </pc:spChg>
        <pc:spChg chg="mod">
          <ac:chgData name="Renata Festa" userId="6f22df47-533b-4c2a-a3c1-7f9ad1d63e10" providerId="ADAL" clId="{7C089C3E-F5BE-4CA8-B83E-9B6651B60167}" dt="2020-03-30T17:21:08.195" v="469" actId="20577"/>
          <ac:spMkLst>
            <pc:docMk/>
            <pc:sldMk cId="2401107922" sldId="593"/>
            <ac:spMk id="6" creationId="{637E159C-9ACF-48AE-927A-D5FB13695C7F}"/>
          </ac:spMkLst>
        </pc:spChg>
      </pc:sldChg>
      <pc:sldChg chg="modSp mod">
        <pc:chgData name="Renata Festa" userId="6f22df47-533b-4c2a-a3c1-7f9ad1d63e10" providerId="ADAL" clId="{7C089C3E-F5BE-4CA8-B83E-9B6651B60167}" dt="2020-03-30T17:21:49.112" v="478" actId="1076"/>
        <pc:sldMkLst>
          <pc:docMk/>
          <pc:sldMk cId="830604392" sldId="594"/>
        </pc:sldMkLst>
        <pc:spChg chg="mod">
          <ac:chgData name="Renata Festa" userId="6f22df47-533b-4c2a-a3c1-7f9ad1d63e10" providerId="ADAL" clId="{7C089C3E-F5BE-4CA8-B83E-9B6651B60167}" dt="2020-03-30T17:21:21.955" v="470"/>
          <ac:spMkLst>
            <pc:docMk/>
            <pc:sldMk cId="830604392" sldId="594"/>
            <ac:spMk id="2" creationId="{BC57B38C-8413-4861-A4F5-7DF656AEAD0D}"/>
          </ac:spMkLst>
        </pc:spChg>
        <pc:spChg chg="mod">
          <ac:chgData name="Renata Festa" userId="6f22df47-533b-4c2a-a3c1-7f9ad1d63e10" providerId="ADAL" clId="{7C089C3E-F5BE-4CA8-B83E-9B6651B60167}" dt="2020-03-30T17:21:49.112" v="478" actId="1076"/>
          <ac:spMkLst>
            <pc:docMk/>
            <pc:sldMk cId="830604392" sldId="594"/>
            <ac:spMk id="3" creationId="{4897B8F8-26DF-42FB-ACB0-59929F1C2344}"/>
          </ac:spMkLst>
        </pc:spChg>
      </pc:sldChg>
      <pc:sldChg chg="del">
        <pc:chgData name="Renata Festa" userId="6f22df47-533b-4c2a-a3c1-7f9ad1d63e10" providerId="ADAL" clId="{7C089C3E-F5BE-4CA8-B83E-9B6651B60167}" dt="2020-03-30T17:22:22.052" v="485" actId="47"/>
        <pc:sldMkLst>
          <pc:docMk/>
          <pc:sldMk cId="1815017121" sldId="596"/>
        </pc:sldMkLst>
      </pc:sldChg>
      <pc:sldChg chg="addSp delSp modSp mod modAnim modShow">
        <pc:chgData name="Renata Festa" userId="6f22df47-533b-4c2a-a3c1-7f9ad1d63e10" providerId="ADAL" clId="{7C089C3E-F5BE-4CA8-B83E-9B6651B60167}" dt="2020-03-30T18:59:16.795" v="908" actId="729"/>
        <pc:sldMkLst>
          <pc:docMk/>
          <pc:sldMk cId="480316712" sldId="599"/>
        </pc:sldMkLst>
        <pc:spChg chg="mod">
          <ac:chgData name="Renata Festa" userId="6f22df47-533b-4c2a-a3c1-7f9ad1d63e10" providerId="ADAL" clId="{7C089C3E-F5BE-4CA8-B83E-9B6651B60167}" dt="2020-03-30T18:58:00.989" v="890"/>
          <ac:spMkLst>
            <pc:docMk/>
            <pc:sldMk cId="480316712" sldId="599"/>
            <ac:spMk id="2" creationId="{EB67312A-9819-43C6-8D84-D9136E6CFFCC}"/>
          </ac:spMkLst>
        </pc:spChg>
        <pc:spChg chg="del">
          <ac:chgData name="Renata Festa" userId="6f22df47-533b-4c2a-a3c1-7f9ad1d63e10" providerId="ADAL" clId="{7C089C3E-F5BE-4CA8-B83E-9B6651B60167}" dt="2020-03-30T18:58:24.827" v="897" actId="478"/>
          <ac:spMkLst>
            <pc:docMk/>
            <pc:sldMk cId="480316712" sldId="599"/>
            <ac:spMk id="3" creationId="{F35E8CBB-5A7D-4DEF-BAF7-8DD5D042F9E0}"/>
          </ac:spMkLst>
        </pc:spChg>
        <pc:spChg chg="del mod">
          <ac:chgData name="Renata Festa" userId="6f22df47-533b-4c2a-a3c1-7f9ad1d63e10" providerId="ADAL" clId="{7C089C3E-F5BE-4CA8-B83E-9B6651B60167}" dt="2020-03-30T18:58:48.050" v="903" actId="12084"/>
          <ac:spMkLst>
            <pc:docMk/>
            <pc:sldMk cId="480316712" sldId="599"/>
            <ac:spMk id="4" creationId="{F3616A99-090F-45E1-9334-58D58B148205}"/>
          </ac:spMkLst>
        </pc:spChg>
        <pc:graphicFrameChg chg="add mod">
          <ac:chgData name="Renata Festa" userId="6f22df47-533b-4c2a-a3c1-7f9ad1d63e10" providerId="ADAL" clId="{7C089C3E-F5BE-4CA8-B83E-9B6651B60167}" dt="2020-03-30T18:58:48.050" v="903" actId="12084"/>
          <ac:graphicFrameMkLst>
            <pc:docMk/>
            <pc:sldMk cId="480316712" sldId="599"/>
            <ac:graphicFrameMk id="7" creationId="{772E7799-0799-479A-B770-FAFFC499EE8F}"/>
          </ac:graphicFrameMkLst>
        </pc:graphicFrameChg>
        <pc:picChg chg="add mod">
          <ac:chgData name="Renata Festa" userId="6f22df47-533b-4c2a-a3c1-7f9ad1d63e10" providerId="ADAL" clId="{7C089C3E-F5BE-4CA8-B83E-9B6651B60167}" dt="2020-03-30T18:58:44.332" v="901" actId="1076"/>
          <ac:picMkLst>
            <pc:docMk/>
            <pc:sldMk cId="480316712" sldId="599"/>
            <ac:picMk id="5" creationId="{5C1B9403-EAEB-486A-BB2E-2A3D5D6303FF}"/>
          </ac:picMkLst>
        </pc:picChg>
        <pc:picChg chg="add mod">
          <ac:chgData name="Renata Festa" userId="6f22df47-533b-4c2a-a3c1-7f9ad1d63e10" providerId="ADAL" clId="{7C089C3E-F5BE-4CA8-B83E-9B6651B60167}" dt="2020-03-30T18:58:44.332" v="901" actId="1076"/>
          <ac:picMkLst>
            <pc:docMk/>
            <pc:sldMk cId="480316712" sldId="599"/>
            <ac:picMk id="6" creationId="{04B4471B-0417-4DE9-A121-A73B5D9C8242}"/>
          </ac:picMkLst>
        </pc:picChg>
      </pc:sldChg>
      <pc:sldChg chg="del">
        <pc:chgData name="Renata Festa" userId="6f22df47-533b-4c2a-a3c1-7f9ad1d63e10" providerId="ADAL" clId="{7C089C3E-F5BE-4CA8-B83E-9B6651B60167}" dt="2020-03-30T18:59:19.533" v="910" actId="47"/>
        <pc:sldMkLst>
          <pc:docMk/>
          <pc:sldMk cId="3584455979" sldId="600"/>
        </pc:sldMkLst>
      </pc:sldChg>
      <pc:sldChg chg="del">
        <pc:chgData name="Renata Festa" userId="6f22df47-533b-4c2a-a3c1-7f9ad1d63e10" providerId="ADAL" clId="{7C089C3E-F5BE-4CA8-B83E-9B6651B60167}" dt="2020-03-30T18:59:27.648" v="911" actId="47"/>
        <pc:sldMkLst>
          <pc:docMk/>
          <pc:sldMk cId="990636349" sldId="601"/>
        </pc:sldMkLst>
      </pc:sldChg>
      <pc:sldChg chg="modSp mod">
        <pc:chgData name="Renata Festa" userId="6f22df47-533b-4c2a-a3c1-7f9ad1d63e10" providerId="ADAL" clId="{7C089C3E-F5BE-4CA8-B83E-9B6651B60167}" dt="2020-03-30T18:59:36.872" v="914" actId="20577"/>
        <pc:sldMkLst>
          <pc:docMk/>
          <pc:sldMk cId="624912330" sldId="602"/>
        </pc:sldMkLst>
        <pc:spChg chg="mod">
          <ac:chgData name="Renata Festa" userId="6f22df47-533b-4c2a-a3c1-7f9ad1d63e10" providerId="ADAL" clId="{7C089C3E-F5BE-4CA8-B83E-9B6651B60167}" dt="2020-03-30T18:59:31.478" v="912"/>
          <ac:spMkLst>
            <pc:docMk/>
            <pc:sldMk cId="624912330" sldId="602"/>
            <ac:spMk id="2" creationId="{BC57B38C-8413-4861-A4F5-7DF656AEAD0D}"/>
          </ac:spMkLst>
        </pc:spChg>
        <pc:spChg chg="mod">
          <ac:chgData name="Renata Festa" userId="6f22df47-533b-4c2a-a3c1-7f9ad1d63e10" providerId="ADAL" clId="{7C089C3E-F5BE-4CA8-B83E-9B6651B60167}" dt="2020-03-30T18:59:36.872" v="914" actId="20577"/>
          <ac:spMkLst>
            <pc:docMk/>
            <pc:sldMk cId="624912330" sldId="602"/>
            <ac:spMk id="3" creationId="{4897B8F8-26DF-42FB-ACB0-59929F1C2344}"/>
          </ac:spMkLst>
        </pc:spChg>
      </pc:sldChg>
      <pc:sldChg chg="del">
        <pc:chgData name="Renata Festa" userId="6f22df47-533b-4c2a-a3c1-7f9ad1d63e10" providerId="ADAL" clId="{7C089C3E-F5BE-4CA8-B83E-9B6651B60167}" dt="2020-03-30T19:00:04.729" v="919" actId="47"/>
        <pc:sldMkLst>
          <pc:docMk/>
          <pc:sldMk cId="268932514" sldId="604"/>
        </pc:sldMkLst>
      </pc:sldChg>
      <pc:sldChg chg="addSp delSp modSp add modAnim">
        <pc:chgData name="Renata Festa" userId="6f22df47-533b-4c2a-a3c1-7f9ad1d63e10" providerId="ADAL" clId="{7C089C3E-F5BE-4CA8-B83E-9B6651B60167}" dt="2020-03-30T19:01:41.540" v="938"/>
        <pc:sldMkLst>
          <pc:docMk/>
          <pc:sldMk cId="815604796" sldId="638"/>
        </pc:sldMkLst>
        <pc:spChg chg="add del mod">
          <ac:chgData name="Renata Festa" userId="6f22df47-533b-4c2a-a3c1-7f9ad1d63e10" providerId="ADAL" clId="{7C089C3E-F5BE-4CA8-B83E-9B6651B60167}" dt="2020-03-30T19:01:31.571" v="935" actId="12084"/>
          <ac:spMkLst>
            <pc:docMk/>
            <pc:sldMk cId="815604796" sldId="638"/>
            <ac:spMk id="3" creationId="{29336831-C69C-441D-9858-5A95184BD43F}"/>
          </ac:spMkLst>
        </pc:spChg>
        <pc:graphicFrameChg chg="add mod">
          <ac:chgData name="Renata Festa" userId="6f22df47-533b-4c2a-a3c1-7f9ad1d63e10" providerId="ADAL" clId="{7C089C3E-F5BE-4CA8-B83E-9B6651B60167}" dt="2020-03-30T19:01:35.860" v="936" actId="12100"/>
          <ac:graphicFrameMkLst>
            <pc:docMk/>
            <pc:sldMk cId="815604796" sldId="638"/>
            <ac:graphicFrameMk id="4" creationId="{CC0C7D7B-5171-4AB1-8217-EC1A932C28B3}"/>
          </ac:graphicFrameMkLst>
        </pc:graphicFrameChg>
        <pc:graphicFrameChg chg="del mod">
          <ac:chgData name="Renata Festa" userId="6f22df47-533b-4c2a-a3c1-7f9ad1d63e10" providerId="ADAL" clId="{7C089C3E-F5BE-4CA8-B83E-9B6651B60167}" dt="2020-03-30T19:01:09.197" v="934" actId="11529"/>
          <ac:graphicFrameMkLst>
            <pc:docMk/>
            <pc:sldMk cId="815604796" sldId="638"/>
            <ac:graphicFrameMk id="5" creationId="{9D786396-8886-485A-8B68-490D282F3302}"/>
          </ac:graphicFrameMkLst>
        </pc:graphicFrameChg>
      </pc:sldChg>
      <pc:sldChg chg="modSp add modAnim">
        <pc:chgData name="Renata Festa" userId="6f22df47-533b-4c2a-a3c1-7f9ad1d63e10" providerId="ADAL" clId="{7C089C3E-F5BE-4CA8-B83E-9B6651B60167}" dt="2020-03-30T18:59:58.571" v="918"/>
        <pc:sldMkLst>
          <pc:docMk/>
          <pc:sldMk cId="2200033997" sldId="639"/>
        </pc:sldMkLst>
        <pc:graphicFrameChg chg="mod">
          <ac:chgData name="Renata Festa" userId="6f22df47-533b-4c2a-a3c1-7f9ad1d63e10" providerId="ADAL" clId="{7C089C3E-F5BE-4CA8-B83E-9B6651B60167}" dt="2020-03-30T18:59:58.571" v="918"/>
          <ac:graphicFrameMkLst>
            <pc:docMk/>
            <pc:sldMk cId="2200033997" sldId="639"/>
            <ac:graphicFrameMk id="3" creationId="{9484E1FE-7534-495E-863C-657A46F5E628}"/>
          </ac:graphicFrameMkLst>
        </pc:graphicFrameChg>
      </pc:sldChg>
      <pc:sldChg chg="modSp add modAnim">
        <pc:chgData name="Renata Festa" userId="6f22df47-533b-4c2a-a3c1-7f9ad1d63e10" providerId="ADAL" clId="{7C089C3E-F5BE-4CA8-B83E-9B6651B60167}" dt="2020-03-30T17:22:11.559" v="484"/>
        <pc:sldMkLst>
          <pc:docMk/>
          <pc:sldMk cId="1802184922" sldId="640"/>
        </pc:sldMkLst>
        <pc:graphicFrameChg chg="mod">
          <ac:chgData name="Renata Festa" userId="6f22df47-533b-4c2a-a3c1-7f9ad1d63e10" providerId="ADAL" clId="{7C089C3E-F5BE-4CA8-B83E-9B6651B60167}" dt="2020-03-30T17:22:11.559" v="484"/>
          <ac:graphicFrameMkLst>
            <pc:docMk/>
            <pc:sldMk cId="1802184922" sldId="640"/>
            <ac:graphicFrameMk id="3" creationId="{9484E1FE-7534-495E-863C-657A46F5E628}"/>
          </ac:graphicFrameMkLst>
        </pc:graphicFrameChg>
      </pc:sldChg>
      <pc:sldChg chg="add mod modShow addCm modCm">
        <pc:chgData name="Renata Festa" userId="6f22df47-533b-4c2a-a3c1-7f9ad1d63e10" providerId="ADAL" clId="{7C089C3E-F5BE-4CA8-B83E-9B6651B60167}" dt="2020-03-30T17:01:14.231" v="251"/>
        <pc:sldMkLst>
          <pc:docMk/>
          <pc:sldMk cId="3666777308" sldId="641"/>
        </pc:sldMkLst>
      </pc:sldChg>
      <pc:sldChg chg="add mod modShow addCm modCm">
        <pc:chgData name="Renata Festa" userId="6f22df47-533b-4c2a-a3c1-7f9ad1d63e10" providerId="ADAL" clId="{7C089C3E-F5BE-4CA8-B83E-9B6651B60167}" dt="2020-03-30T16:55:32.919" v="175"/>
        <pc:sldMkLst>
          <pc:docMk/>
          <pc:sldMk cId="3389751675" sldId="642"/>
        </pc:sldMkLst>
      </pc:sldChg>
      <pc:sldChg chg="add mod modShow addCm modCm">
        <pc:chgData name="Renata Festa" userId="6f22df47-533b-4c2a-a3c1-7f9ad1d63e10" providerId="ADAL" clId="{7C089C3E-F5BE-4CA8-B83E-9B6651B60167}" dt="2020-03-30T16:54:02.814" v="160"/>
        <pc:sldMkLst>
          <pc:docMk/>
          <pc:sldMk cId="274713231" sldId="643"/>
        </pc:sldMkLst>
      </pc:sldChg>
      <pc:sldChg chg="add mod modShow addCm modCm">
        <pc:chgData name="Renata Festa" userId="6f22df47-533b-4c2a-a3c1-7f9ad1d63e10" providerId="ADAL" clId="{7C089C3E-F5BE-4CA8-B83E-9B6651B60167}" dt="2020-03-30T16:49:17.071" v="105"/>
        <pc:sldMkLst>
          <pc:docMk/>
          <pc:sldMk cId="1434385646" sldId="644"/>
        </pc:sldMkLst>
      </pc:sldChg>
      <pc:sldChg chg="addSp delSp modSp add mod">
        <pc:chgData name="Renata Festa" userId="6f22df47-533b-4c2a-a3c1-7f9ad1d63e10" providerId="ADAL" clId="{7C089C3E-F5BE-4CA8-B83E-9B6651B60167}" dt="2020-03-30T16:47:07.429" v="85" actId="1035"/>
        <pc:sldMkLst>
          <pc:docMk/>
          <pc:sldMk cId="3396998821" sldId="645"/>
        </pc:sldMkLst>
        <pc:spChg chg="mod">
          <ac:chgData name="Renata Festa" userId="6f22df47-533b-4c2a-a3c1-7f9ad1d63e10" providerId="ADAL" clId="{7C089C3E-F5BE-4CA8-B83E-9B6651B60167}" dt="2020-03-30T16:42:17.989" v="16"/>
          <ac:spMkLst>
            <pc:docMk/>
            <pc:sldMk cId="3396998821" sldId="645"/>
            <ac:spMk id="2" creationId="{34FDF95C-850C-4836-975A-DEBE62E2CE5A}"/>
          </ac:spMkLst>
        </pc:spChg>
        <pc:spChg chg="del">
          <ac:chgData name="Renata Festa" userId="6f22df47-533b-4c2a-a3c1-7f9ad1d63e10" providerId="ADAL" clId="{7C089C3E-F5BE-4CA8-B83E-9B6651B60167}" dt="2020-03-30T16:43:03.867" v="31" actId="478"/>
          <ac:spMkLst>
            <pc:docMk/>
            <pc:sldMk cId="3396998821" sldId="645"/>
            <ac:spMk id="3" creationId="{66990D60-9675-478D-9D86-B9BB8EF53DA2}"/>
          </ac:spMkLst>
        </pc:spChg>
        <pc:spChg chg="add del mod">
          <ac:chgData name="Renata Festa" userId="6f22df47-533b-4c2a-a3c1-7f9ad1d63e10" providerId="ADAL" clId="{7C089C3E-F5BE-4CA8-B83E-9B6651B60167}" dt="2020-03-30T16:42:45.231" v="26"/>
          <ac:spMkLst>
            <pc:docMk/>
            <pc:sldMk cId="3396998821" sldId="645"/>
            <ac:spMk id="5" creationId="{51451DEC-912C-4D7D-8C32-63A20B075CD4}"/>
          </ac:spMkLst>
        </pc:spChg>
        <pc:spChg chg="add del mod">
          <ac:chgData name="Renata Festa" userId="6f22df47-533b-4c2a-a3c1-7f9ad1d63e10" providerId="ADAL" clId="{7C089C3E-F5BE-4CA8-B83E-9B6651B60167}" dt="2020-03-30T16:42:45.231" v="26"/>
          <ac:spMkLst>
            <pc:docMk/>
            <pc:sldMk cId="3396998821" sldId="645"/>
            <ac:spMk id="6" creationId="{B2D477F6-AB25-4D03-A6C2-C57BDE018974}"/>
          </ac:spMkLst>
        </pc:spChg>
        <pc:spChg chg="add del mod">
          <ac:chgData name="Renata Festa" userId="6f22df47-533b-4c2a-a3c1-7f9ad1d63e10" providerId="ADAL" clId="{7C089C3E-F5BE-4CA8-B83E-9B6651B60167}" dt="2020-03-30T16:42:45.231" v="26"/>
          <ac:spMkLst>
            <pc:docMk/>
            <pc:sldMk cId="3396998821" sldId="645"/>
            <ac:spMk id="7" creationId="{8513D51C-1CA9-44B9-8237-D6A8870E71EA}"/>
          </ac:spMkLst>
        </pc:spChg>
        <pc:spChg chg="add del mod">
          <ac:chgData name="Renata Festa" userId="6f22df47-533b-4c2a-a3c1-7f9ad1d63e10" providerId="ADAL" clId="{7C089C3E-F5BE-4CA8-B83E-9B6651B60167}" dt="2020-03-30T16:42:45.231" v="26"/>
          <ac:spMkLst>
            <pc:docMk/>
            <pc:sldMk cId="3396998821" sldId="645"/>
            <ac:spMk id="8" creationId="{4C602698-53EA-47B1-9052-D9DE660D2BE9}"/>
          </ac:spMkLst>
        </pc:spChg>
        <pc:spChg chg="add del mod">
          <ac:chgData name="Renata Festa" userId="6f22df47-533b-4c2a-a3c1-7f9ad1d63e10" providerId="ADAL" clId="{7C089C3E-F5BE-4CA8-B83E-9B6651B60167}" dt="2020-03-30T16:42:45.231" v="26"/>
          <ac:spMkLst>
            <pc:docMk/>
            <pc:sldMk cId="3396998821" sldId="645"/>
            <ac:spMk id="9" creationId="{6A7104E7-309E-4558-97ED-D8CCADF3295D}"/>
          </ac:spMkLst>
        </pc:spChg>
        <pc:spChg chg="add del mod">
          <ac:chgData name="Renata Festa" userId="6f22df47-533b-4c2a-a3c1-7f9ad1d63e10" providerId="ADAL" clId="{7C089C3E-F5BE-4CA8-B83E-9B6651B60167}" dt="2020-03-30T16:42:45.231" v="26"/>
          <ac:spMkLst>
            <pc:docMk/>
            <pc:sldMk cId="3396998821" sldId="645"/>
            <ac:spMk id="10" creationId="{F4137B05-99C2-43DB-98A4-C68863D54443}"/>
          </ac:spMkLst>
        </pc:spChg>
        <pc:spChg chg="add del mod">
          <ac:chgData name="Renata Festa" userId="6f22df47-533b-4c2a-a3c1-7f9ad1d63e10" providerId="ADAL" clId="{7C089C3E-F5BE-4CA8-B83E-9B6651B60167}" dt="2020-03-30T16:42:45.231" v="26"/>
          <ac:spMkLst>
            <pc:docMk/>
            <pc:sldMk cId="3396998821" sldId="645"/>
            <ac:spMk id="15" creationId="{33300ABC-0DD6-406C-BD00-AC1E37E85D40}"/>
          </ac:spMkLst>
        </pc:spChg>
        <pc:spChg chg="add del mod">
          <ac:chgData name="Renata Festa" userId="6f22df47-533b-4c2a-a3c1-7f9ad1d63e10" providerId="ADAL" clId="{7C089C3E-F5BE-4CA8-B83E-9B6651B60167}" dt="2020-03-30T16:42:45.231" v="26"/>
          <ac:spMkLst>
            <pc:docMk/>
            <pc:sldMk cId="3396998821" sldId="645"/>
            <ac:spMk id="16" creationId="{876A4448-B3DB-49DC-A3EA-2E2F97381C0D}"/>
          </ac:spMkLst>
        </pc:spChg>
        <pc:spChg chg="add del mod">
          <ac:chgData name="Renata Festa" userId="6f22df47-533b-4c2a-a3c1-7f9ad1d63e10" providerId="ADAL" clId="{7C089C3E-F5BE-4CA8-B83E-9B6651B60167}" dt="2020-03-30T16:42:45.231" v="26"/>
          <ac:spMkLst>
            <pc:docMk/>
            <pc:sldMk cId="3396998821" sldId="645"/>
            <ac:spMk id="17" creationId="{D5F5DB78-985C-4D41-87AF-7281028F5E58}"/>
          </ac:spMkLst>
        </pc:spChg>
        <pc:spChg chg="add del mod">
          <ac:chgData name="Renata Festa" userId="6f22df47-533b-4c2a-a3c1-7f9ad1d63e10" providerId="ADAL" clId="{7C089C3E-F5BE-4CA8-B83E-9B6651B60167}" dt="2020-03-30T16:42:45.231" v="26"/>
          <ac:spMkLst>
            <pc:docMk/>
            <pc:sldMk cId="3396998821" sldId="645"/>
            <ac:spMk id="18" creationId="{30D41BD5-F4C0-4C3D-ADF4-A5401CDE896F}"/>
          </ac:spMkLst>
        </pc:spChg>
        <pc:spChg chg="add del mod">
          <ac:chgData name="Renata Festa" userId="6f22df47-533b-4c2a-a3c1-7f9ad1d63e10" providerId="ADAL" clId="{7C089C3E-F5BE-4CA8-B83E-9B6651B60167}" dt="2020-03-30T16:42:45.231" v="26"/>
          <ac:spMkLst>
            <pc:docMk/>
            <pc:sldMk cId="3396998821" sldId="645"/>
            <ac:spMk id="19" creationId="{79E8514C-795D-4CAF-A1BC-48873F864C96}"/>
          </ac:spMkLst>
        </pc:spChg>
        <pc:spChg chg="add del mod">
          <ac:chgData name="Renata Festa" userId="6f22df47-533b-4c2a-a3c1-7f9ad1d63e10" providerId="ADAL" clId="{7C089C3E-F5BE-4CA8-B83E-9B6651B60167}" dt="2020-03-30T16:42:45.231" v="26"/>
          <ac:spMkLst>
            <pc:docMk/>
            <pc:sldMk cId="3396998821" sldId="645"/>
            <ac:spMk id="20" creationId="{2496EFE6-9FC1-4824-9110-D0452CCFC972}"/>
          </ac:spMkLst>
        </pc:spChg>
        <pc:spChg chg="add del mod">
          <ac:chgData name="Renata Festa" userId="6f22df47-533b-4c2a-a3c1-7f9ad1d63e10" providerId="ADAL" clId="{7C089C3E-F5BE-4CA8-B83E-9B6651B60167}" dt="2020-03-30T16:42:45.231" v="26"/>
          <ac:spMkLst>
            <pc:docMk/>
            <pc:sldMk cId="3396998821" sldId="645"/>
            <ac:spMk id="21" creationId="{267AC01C-9349-4691-A0B8-D9BF16A17813}"/>
          </ac:spMkLst>
        </pc:spChg>
        <pc:spChg chg="add del mod">
          <ac:chgData name="Renata Festa" userId="6f22df47-533b-4c2a-a3c1-7f9ad1d63e10" providerId="ADAL" clId="{7C089C3E-F5BE-4CA8-B83E-9B6651B60167}" dt="2020-03-30T16:42:45.231" v="26"/>
          <ac:spMkLst>
            <pc:docMk/>
            <pc:sldMk cId="3396998821" sldId="645"/>
            <ac:spMk id="22" creationId="{F97E334D-4C57-42DE-A227-FB3288085F30}"/>
          </ac:spMkLst>
        </pc:spChg>
        <pc:spChg chg="add del mod">
          <ac:chgData name="Renata Festa" userId="6f22df47-533b-4c2a-a3c1-7f9ad1d63e10" providerId="ADAL" clId="{7C089C3E-F5BE-4CA8-B83E-9B6651B60167}" dt="2020-03-30T16:42:45.231" v="26"/>
          <ac:spMkLst>
            <pc:docMk/>
            <pc:sldMk cId="3396998821" sldId="645"/>
            <ac:spMk id="23" creationId="{0D8B07C7-915D-4585-86F5-B6BE4D5D714F}"/>
          </ac:spMkLst>
        </pc:spChg>
        <pc:spChg chg="add del mod">
          <ac:chgData name="Renata Festa" userId="6f22df47-533b-4c2a-a3c1-7f9ad1d63e10" providerId="ADAL" clId="{7C089C3E-F5BE-4CA8-B83E-9B6651B60167}" dt="2020-03-30T16:42:45.231" v="26"/>
          <ac:spMkLst>
            <pc:docMk/>
            <pc:sldMk cId="3396998821" sldId="645"/>
            <ac:spMk id="26" creationId="{B5E3078E-7B3E-4759-A46E-E4F9351E022D}"/>
          </ac:spMkLst>
        </pc:spChg>
        <pc:spChg chg="add del mod">
          <ac:chgData name="Renata Festa" userId="6f22df47-533b-4c2a-a3c1-7f9ad1d63e10" providerId="ADAL" clId="{7C089C3E-F5BE-4CA8-B83E-9B6651B60167}" dt="2020-03-30T16:42:45.231" v="26"/>
          <ac:spMkLst>
            <pc:docMk/>
            <pc:sldMk cId="3396998821" sldId="645"/>
            <ac:spMk id="35" creationId="{E5616B6D-D567-4481-8E97-11348735F09D}"/>
          </ac:spMkLst>
        </pc:spChg>
        <pc:spChg chg="add del mod">
          <ac:chgData name="Renata Festa" userId="6f22df47-533b-4c2a-a3c1-7f9ad1d63e10" providerId="ADAL" clId="{7C089C3E-F5BE-4CA8-B83E-9B6651B60167}" dt="2020-03-30T16:42:45.231" v="26"/>
          <ac:spMkLst>
            <pc:docMk/>
            <pc:sldMk cId="3396998821" sldId="645"/>
            <ac:spMk id="36" creationId="{51BC4EA2-ABC4-4B76-836F-3C0B845C871E}"/>
          </ac:spMkLst>
        </pc:spChg>
        <pc:spChg chg="add del mod">
          <ac:chgData name="Renata Festa" userId="6f22df47-533b-4c2a-a3c1-7f9ad1d63e10" providerId="ADAL" clId="{7C089C3E-F5BE-4CA8-B83E-9B6651B60167}" dt="2020-03-30T16:42:45.231" v="26"/>
          <ac:spMkLst>
            <pc:docMk/>
            <pc:sldMk cId="3396998821" sldId="645"/>
            <ac:spMk id="37" creationId="{2934AE69-93EA-4698-AC2A-B37A957E9456}"/>
          </ac:spMkLst>
        </pc:spChg>
        <pc:spChg chg="add del mod">
          <ac:chgData name="Renata Festa" userId="6f22df47-533b-4c2a-a3c1-7f9ad1d63e10" providerId="ADAL" clId="{7C089C3E-F5BE-4CA8-B83E-9B6651B60167}" dt="2020-03-30T16:42:45.231" v="26"/>
          <ac:spMkLst>
            <pc:docMk/>
            <pc:sldMk cId="3396998821" sldId="645"/>
            <ac:spMk id="38" creationId="{A42CE207-3143-4422-AF44-A6944080E92F}"/>
          </ac:spMkLst>
        </pc:spChg>
        <pc:spChg chg="add del mod">
          <ac:chgData name="Renata Festa" userId="6f22df47-533b-4c2a-a3c1-7f9ad1d63e10" providerId="ADAL" clId="{7C089C3E-F5BE-4CA8-B83E-9B6651B60167}" dt="2020-03-30T16:42:45.231" v="26"/>
          <ac:spMkLst>
            <pc:docMk/>
            <pc:sldMk cId="3396998821" sldId="645"/>
            <ac:spMk id="39" creationId="{316297FF-FB05-4B80-BA1B-FAABEE5566E1}"/>
          </ac:spMkLst>
        </pc:spChg>
        <pc:spChg chg="add del mod">
          <ac:chgData name="Renata Festa" userId="6f22df47-533b-4c2a-a3c1-7f9ad1d63e10" providerId="ADAL" clId="{7C089C3E-F5BE-4CA8-B83E-9B6651B60167}" dt="2020-03-30T16:42:45.231" v="26"/>
          <ac:spMkLst>
            <pc:docMk/>
            <pc:sldMk cId="3396998821" sldId="645"/>
            <ac:spMk id="40" creationId="{BCA22027-2305-4B55-833C-2516B0577F4D}"/>
          </ac:spMkLst>
        </pc:spChg>
        <pc:spChg chg="add del mod">
          <ac:chgData name="Renata Festa" userId="6f22df47-533b-4c2a-a3c1-7f9ad1d63e10" providerId="ADAL" clId="{7C089C3E-F5BE-4CA8-B83E-9B6651B60167}" dt="2020-03-30T16:42:45.231" v="26"/>
          <ac:spMkLst>
            <pc:docMk/>
            <pc:sldMk cId="3396998821" sldId="645"/>
            <ac:spMk id="41" creationId="{96B07739-6932-41E8-B4E2-49E720732911}"/>
          </ac:spMkLst>
        </pc:spChg>
        <pc:spChg chg="add del mod">
          <ac:chgData name="Renata Festa" userId="6f22df47-533b-4c2a-a3c1-7f9ad1d63e10" providerId="ADAL" clId="{7C089C3E-F5BE-4CA8-B83E-9B6651B60167}" dt="2020-03-30T16:42:45.231" v="26"/>
          <ac:spMkLst>
            <pc:docMk/>
            <pc:sldMk cId="3396998821" sldId="645"/>
            <ac:spMk id="42" creationId="{6F9D173D-F4F7-49B1-84FE-DA48432DB706}"/>
          </ac:spMkLst>
        </pc:spChg>
        <pc:spChg chg="add del mod">
          <ac:chgData name="Renata Festa" userId="6f22df47-533b-4c2a-a3c1-7f9ad1d63e10" providerId="ADAL" clId="{7C089C3E-F5BE-4CA8-B83E-9B6651B60167}" dt="2020-03-30T16:42:45.231" v="26"/>
          <ac:spMkLst>
            <pc:docMk/>
            <pc:sldMk cId="3396998821" sldId="645"/>
            <ac:spMk id="43" creationId="{9FF9912C-1C19-48D8-B4B1-08B26C81C343}"/>
          </ac:spMkLst>
        </pc:spChg>
        <pc:spChg chg="add del mod">
          <ac:chgData name="Renata Festa" userId="6f22df47-533b-4c2a-a3c1-7f9ad1d63e10" providerId="ADAL" clId="{7C089C3E-F5BE-4CA8-B83E-9B6651B60167}" dt="2020-03-30T16:42:45.231" v="26"/>
          <ac:spMkLst>
            <pc:docMk/>
            <pc:sldMk cId="3396998821" sldId="645"/>
            <ac:spMk id="44" creationId="{6BA9F78B-7053-4532-B0A0-4F8931C0660E}"/>
          </ac:spMkLst>
        </pc:spChg>
        <pc:spChg chg="add del mod">
          <ac:chgData name="Renata Festa" userId="6f22df47-533b-4c2a-a3c1-7f9ad1d63e10" providerId="ADAL" clId="{7C089C3E-F5BE-4CA8-B83E-9B6651B60167}" dt="2020-03-30T16:42:45.231" v="26"/>
          <ac:spMkLst>
            <pc:docMk/>
            <pc:sldMk cId="3396998821" sldId="645"/>
            <ac:spMk id="45" creationId="{B06B12DE-4062-45A1-AFFD-DAC2ADE25290}"/>
          </ac:spMkLst>
        </pc:spChg>
        <pc:spChg chg="add del mod">
          <ac:chgData name="Renata Festa" userId="6f22df47-533b-4c2a-a3c1-7f9ad1d63e10" providerId="ADAL" clId="{7C089C3E-F5BE-4CA8-B83E-9B6651B60167}" dt="2020-03-30T16:42:45.231" v="26"/>
          <ac:spMkLst>
            <pc:docMk/>
            <pc:sldMk cId="3396998821" sldId="645"/>
            <ac:spMk id="46" creationId="{83075066-3E9F-4691-9EE2-3D9A76324971}"/>
          </ac:spMkLst>
        </pc:spChg>
        <pc:spChg chg="add del mod">
          <ac:chgData name="Renata Festa" userId="6f22df47-533b-4c2a-a3c1-7f9ad1d63e10" providerId="ADAL" clId="{7C089C3E-F5BE-4CA8-B83E-9B6651B60167}" dt="2020-03-30T16:42:45.231" v="26"/>
          <ac:spMkLst>
            <pc:docMk/>
            <pc:sldMk cId="3396998821" sldId="645"/>
            <ac:spMk id="47" creationId="{21AE6CBB-F20E-4739-9BA7-CE96A819345B}"/>
          </ac:spMkLst>
        </pc:spChg>
        <pc:spChg chg="add del mod">
          <ac:chgData name="Renata Festa" userId="6f22df47-533b-4c2a-a3c1-7f9ad1d63e10" providerId="ADAL" clId="{7C089C3E-F5BE-4CA8-B83E-9B6651B60167}" dt="2020-03-30T16:42:45.231" v="26"/>
          <ac:spMkLst>
            <pc:docMk/>
            <pc:sldMk cId="3396998821" sldId="645"/>
            <ac:spMk id="49" creationId="{B79E63C1-F270-4C15-B4D6-90DDDA5CC6DB}"/>
          </ac:spMkLst>
        </pc:spChg>
        <pc:spChg chg="add del mod">
          <ac:chgData name="Renata Festa" userId="6f22df47-533b-4c2a-a3c1-7f9ad1d63e10" providerId="ADAL" clId="{7C089C3E-F5BE-4CA8-B83E-9B6651B60167}" dt="2020-03-30T16:42:45.231" v="26"/>
          <ac:spMkLst>
            <pc:docMk/>
            <pc:sldMk cId="3396998821" sldId="645"/>
            <ac:spMk id="55" creationId="{9BD48BB1-2A4A-4745-992E-90ABA3A6450E}"/>
          </ac:spMkLst>
        </pc:spChg>
        <pc:spChg chg="add del mod">
          <ac:chgData name="Renata Festa" userId="6f22df47-533b-4c2a-a3c1-7f9ad1d63e10" providerId="ADAL" clId="{7C089C3E-F5BE-4CA8-B83E-9B6651B60167}" dt="2020-03-30T16:42:45.231" v="26"/>
          <ac:spMkLst>
            <pc:docMk/>
            <pc:sldMk cId="3396998821" sldId="645"/>
            <ac:spMk id="62" creationId="{F2964067-6711-4A23-B92F-F0150450AD5A}"/>
          </ac:spMkLst>
        </pc:spChg>
        <pc:spChg chg="add del mod">
          <ac:chgData name="Renata Festa" userId="6f22df47-533b-4c2a-a3c1-7f9ad1d63e10" providerId="ADAL" clId="{7C089C3E-F5BE-4CA8-B83E-9B6651B60167}" dt="2020-03-30T16:42:45.231" v="26"/>
          <ac:spMkLst>
            <pc:docMk/>
            <pc:sldMk cId="3396998821" sldId="645"/>
            <ac:spMk id="81" creationId="{3BC2E998-FB33-436E-A779-72E08A49706E}"/>
          </ac:spMkLst>
        </pc:spChg>
        <pc:spChg chg="add del mod">
          <ac:chgData name="Renata Festa" userId="6f22df47-533b-4c2a-a3c1-7f9ad1d63e10" providerId="ADAL" clId="{7C089C3E-F5BE-4CA8-B83E-9B6651B60167}" dt="2020-03-30T16:42:45.231" v="26"/>
          <ac:spMkLst>
            <pc:docMk/>
            <pc:sldMk cId="3396998821" sldId="645"/>
            <ac:spMk id="82" creationId="{2F947EF7-0131-4CDE-AD75-4646A5D330EB}"/>
          </ac:spMkLst>
        </pc:spChg>
        <pc:spChg chg="add mod">
          <ac:chgData name="Renata Festa" userId="6f22df47-533b-4c2a-a3c1-7f9ad1d63e10" providerId="ADAL" clId="{7C089C3E-F5BE-4CA8-B83E-9B6651B60167}" dt="2020-03-30T16:42:58.589" v="30" actId="1076"/>
          <ac:spMkLst>
            <pc:docMk/>
            <pc:sldMk cId="3396998821" sldId="645"/>
            <ac:spMk id="111" creationId="{DF8A0DC8-FD73-46ED-8566-3B2933B4FCA9}"/>
          </ac:spMkLst>
        </pc:spChg>
        <pc:spChg chg="add mod">
          <ac:chgData name="Renata Festa" userId="6f22df47-533b-4c2a-a3c1-7f9ad1d63e10" providerId="ADAL" clId="{7C089C3E-F5BE-4CA8-B83E-9B6651B60167}" dt="2020-03-30T16:42:58.589" v="30" actId="1076"/>
          <ac:spMkLst>
            <pc:docMk/>
            <pc:sldMk cId="3396998821" sldId="645"/>
            <ac:spMk id="112" creationId="{CEA07DC2-966A-4F4D-BB13-A19FD963C664}"/>
          </ac:spMkLst>
        </pc:spChg>
        <pc:spChg chg="add mod">
          <ac:chgData name="Renata Festa" userId="6f22df47-533b-4c2a-a3c1-7f9ad1d63e10" providerId="ADAL" clId="{7C089C3E-F5BE-4CA8-B83E-9B6651B60167}" dt="2020-03-30T16:42:58.589" v="30" actId="1076"/>
          <ac:spMkLst>
            <pc:docMk/>
            <pc:sldMk cId="3396998821" sldId="645"/>
            <ac:spMk id="113" creationId="{3F8A750B-31AE-4204-A1E5-4A0ED8850CF0}"/>
          </ac:spMkLst>
        </pc:spChg>
        <pc:spChg chg="add mod">
          <ac:chgData name="Renata Festa" userId="6f22df47-533b-4c2a-a3c1-7f9ad1d63e10" providerId="ADAL" clId="{7C089C3E-F5BE-4CA8-B83E-9B6651B60167}" dt="2020-03-30T16:42:58.589" v="30" actId="1076"/>
          <ac:spMkLst>
            <pc:docMk/>
            <pc:sldMk cId="3396998821" sldId="645"/>
            <ac:spMk id="114" creationId="{4E2FE92E-93F5-4CEC-8E5C-F6835D7DC90B}"/>
          </ac:spMkLst>
        </pc:spChg>
        <pc:spChg chg="add mod">
          <ac:chgData name="Renata Festa" userId="6f22df47-533b-4c2a-a3c1-7f9ad1d63e10" providerId="ADAL" clId="{7C089C3E-F5BE-4CA8-B83E-9B6651B60167}" dt="2020-03-30T16:42:58.589" v="30" actId="1076"/>
          <ac:spMkLst>
            <pc:docMk/>
            <pc:sldMk cId="3396998821" sldId="645"/>
            <ac:spMk id="115" creationId="{C31A3194-B40E-4951-932C-1EDA8937404F}"/>
          </ac:spMkLst>
        </pc:spChg>
        <pc:spChg chg="add mod">
          <ac:chgData name="Renata Festa" userId="6f22df47-533b-4c2a-a3c1-7f9ad1d63e10" providerId="ADAL" clId="{7C089C3E-F5BE-4CA8-B83E-9B6651B60167}" dt="2020-03-30T16:42:58.589" v="30" actId="1076"/>
          <ac:spMkLst>
            <pc:docMk/>
            <pc:sldMk cId="3396998821" sldId="645"/>
            <ac:spMk id="116" creationId="{0923BB4F-08EC-4AF9-9B94-998E93D148BE}"/>
          </ac:spMkLst>
        </pc:spChg>
        <pc:spChg chg="add mod">
          <ac:chgData name="Renata Festa" userId="6f22df47-533b-4c2a-a3c1-7f9ad1d63e10" providerId="ADAL" clId="{7C089C3E-F5BE-4CA8-B83E-9B6651B60167}" dt="2020-03-30T16:43:29.127" v="36" actId="14100"/>
          <ac:spMkLst>
            <pc:docMk/>
            <pc:sldMk cId="3396998821" sldId="645"/>
            <ac:spMk id="121" creationId="{675DE395-E5AB-4186-B6EC-B40F262A1973}"/>
          </ac:spMkLst>
        </pc:spChg>
        <pc:spChg chg="add mod">
          <ac:chgData name="Renata Festa" userId="6f22df47-533b-4c2a-a3c1-7f9ad1d63e10" providerId="ADAL" clId="{7C089C3E-F5BE-4CA8-B83E-9B6651B60167}" dt="2020-03-30T16:43:29.127" v="36" actId="14100"/>
          <ac:spMkLst>
            <pc:docMk/>
            <pc:sldMk cId="3396998821" sldId="645"/>
            <ac:spMk id="122" creationId="{1E19026D-9D68-4945-9648-D86CACD91278}"/>
          </ac:spMkLst>
        </pc:spChg>
        <pc:spChg chg="add mod">
          <ac:chgData name="Renata Festa" userId="6f22df47-533b-4c2a-a3c1-7f9ad1d63e10" providerId="ADAL" clId="{7C089C3E-F5BE-4CA8-B83E-9B6651B60167}" dt="2020-03-30T16:42:58.589" v="30" actId="1076"/>
          <ac:spMkLst>
            <pc:docMk/>
            <pc:sldMk cId="3396998821" sldId="645"/>
            <ac:spMk id="123" creationId="{08FA893E-C7C7-422B-A5E8-386DFF1E623D}"/>
          </ac:spMkLst>
        </pc:spChg>
        <pc:spChg chg="add mod">
          <ac:chgData name="Renata Festa" userId="6f22df47-533b-4c2a-a3c1-7f9ad1d63e10" providerId="ADAL" clId="{7C089C3E-F5BE-4CA8-B83E-9B6651B60167}" dt="2020-03-30T16:42:58.589" v="30" actId="1076"/>
          <ac:spMkLst>
            <pc:docMk/>
            <pc:sldMk cId="3396998821" sldId="645"/>
            <ac:spMk id="124" creationId="{DB9D55EF-35B7-4620-B784-07365982BFA6}"/>
          </ac:spMkLst>
        </pc:spChg>
        <pc:spChg chg="add mod">
          <ac:chgData name="Renata Festa" userId="6f22df47-533b-4c2a-a3c1-7f9ad1d63e10" providerId="ADAL" clId="{7C089C3E-F5BE-4CA8-B83E-9B6651B60167}" dt="2020-03-30T16:42:58.589" v="30" actId="1076"/>
          <ac:spMkLst>
            <pc:docMk/>
            <pc:sldMk cId="3396998821" sldId="645"/>
            <ac:spMk id="125" creationId="{3A1FDF60-FBEF-4086-992E-6F0F0042B152}"/>
          </ac:spMkLst>
        </pc:spChg>
        <pc:spChg chg="add mod">
          <ac:chgData name="Renata Festa" userId="6f22df47-533b-4c2a-a3c1-7f9ad1d63e10" providerId="ADAL" clId="{7C089C3E-F5BE-4CA8-B83E-9B6651B60167}" dt="2020-03-30T16:42:58.589" v="30" actId="1076"/>
          <ac:spMkLst>
            <pc:docMk/>
            <pc:sldMk cId="3396998821" sldId="645"/>
            <ac:spMk id="126" creationId="{9180B5D1-3A2B-4EEC-A4AC-5502236CB297}"/>
          </ac:spMkLst>
        </pc:spChg>
        <pc:spChg chg="add mod">
          <ac:chgData name="Renata Festa" userId="6f22df47-533b-4c2a-a3c1-7f9ad1d63e10" providerId="ADAL" clId="{7C089C3E-F5BE-4CA8-B83E-9B6651B60167}" dt="2020-03-30T16:42:58.589" v="30" actId="1076"/>
          <ac:spMkLst>
            <pc:docMk/>
            <pc:sldMk cId="3396998821" sldId="645"/>
            <ac:spMk id="127" creationId="{8BD8B99B-D171-450B-BA00-2D9A1828D867}"/>
          </ac:spMkLst>
        </pc:spChg>
        <pc:spChg chg="add del mod">
          <ac:chgData name="Renata Festa" userId="6f22df47-533b-4c2a-a3c1-7f9ad1d63e10" providerId="ADAL" clId="{7C089C3E-F5BE-4CA8-B83E-9B6651B60167}" dt="2020-03-30T16:44:36.553" v="51" actId="478"/>
          <ac:spMkLst>
            <pc:docMk/>
            <pc:sldMk cId="3396998821" sldId="645"/>
            <ac:spMk id="128" creationId="{71ABBC5B-8A50-4EE6-AB66-F679B62A9095}"/>
          </ac:spMkLst>
        </pc:spChg>
        <pc:spChg chg="add del mod">
          <ac:chgData name="Renata Festa" userId="6f22df47-533b-4c2a-a3c1-7f9ad1d63e10" providerId="ADAL" clId="{7C089C3E-F5BE-4CA8-B83E-9B6651B60167}" dt="2020-03-30T16:44:43.211" v="53" actId="478"/>
          <ac:spMkLst>
            <pc:docMk/>
            <pc:sldMk cId="3396998821" sldId="645"/>
            <ac:spMk id="129" creationId="{A7F4F3BA-C025-429E-9A80-E82BEF2297A8}"/>
          </ac:spMkLst>
        </pc:spChg>
        <pc:spChg chg="add mod">
          <ac:chgData name="Renata Festa" userId="6f22df47-533b-4c2a-a3c1-7f9ad1d63e10" providerId="ADAL" clId="{7C089C3E-F5BE-4CA8-B83E-9B6651B60167}" dt="2020-03-30T16:47:07.429" v="85" actId="1035"/>
          <ac:spMkLst>
            <pc:docMk/>
            <pc:sldMk cId="3396998821" sldId="645"/>
            <ac:spMk id="132" creationId="{B9A5FB48-A905-4796-8B25-B655F468A5A4}"/>
          </ac:spMkLst>
        </pc:spChg>
        <pc:spChg chg="add mod">
          <ac:chgData name="Renata Festa" userId="6f22df47-533b-4c2a-a3c1-7f9ad1d63e10" providerId="ADAL" clId="{7C089C3E-F5BE-4CA8-B83E-9B6651B60167}" dt="2020-03-30T16:42:58.589" v="30" actId="1076"/>
          <ac:spMkLst>
            <pc:docMk/>
            <pc:sldMk cId="3396998821" sldId="645"/>
            <ac:spMk id="141" creationId="{EB30D987-7275-40F9-AE43-EA7227EAF726}"/>
          </ac:spMkLst>
        </pc:spChg>
        <pc:spChg chg="add mod">
          <ac:chgData name="Renata Festa" userId="6f22df47-533b-4c2a-a3c1-7f9ad1d63e10" providerId="ADAL" clId="{7C089C3E-F5BE-4CA8-B83E-9B6651B60167}" dt="2020-03-30T16:42:58.589" v="30" actId="1076"/>
          <ac:spMkLst>
            <pc:docMk/>
            <pc:sldMk cId="3396998821" sldId="645"/>
            <ac:spMk id="142" creationId="{AA794F5B-3126-4E90-8E6B-C51AF3709C08}"/>
          </ac:spMkLst>
        </pc:spChg>
        <pc:spChg chg="add mod">
          <ac:chgData name="Renata Festa" userId="6f22df47-533b-4c2a-a3c1-7f9ad1d63e10" providerId="ADAL" clId="{7C089C3E-F5BE-4CA8-B83E-9B6651B60167}" dt="2020-03-30T16:46:13.983" v="67" actId="1076"/>
          <ac:spMkLst>
            <pc:docMk/>
            <pc:sldMk cId="3396998821" sldId="645"/>
            <ac:spMk id="143" creationId="{F47D9BB4-984C-433F-A43C-7146D6D9DB25}"/>
          </ac:spMkLst>
        </pc:spChg>
        <pc:spChg chg="add mod">
          <ac:chgData name="Renata Festa" userId="6f22df47-533b-4c2a-a3c1-7f9ad1d63e10" providerId="ADAL" clId="{7C089C3E-F5BE-4CA8-B83E-9B6651B60167}" dt="2020-03-30T16:42:58.589" v="30" actId="1076"/>
          <ac:spMkLst>
            <pc:docMk/>
            <pc:sldMk cId="3396998821" sldId="645"/>
            <ac:spMk id="144" creationId="{4B40D6B0-C727-4957-97DC-D57CD99194D3}"/>
          </ac:spMkLst>
        </pc:spChg>
        <pc:spChg chg="add mod">
          <ac:chgData name="Renata Festa" userId="6f22df47-533b-4c2a-a3c1-7f9ad1d63e10" providerId="ADAL" clId="{7C089C3E-F5BE-4CA8-B83E-9B6651B60167}" dt="2020-03-30T16:42:58.589" v="30" actId="1076"/>
          <ac:spMkLst>
            <pc:docMk/>
            <pc:sldMk cId="3396998821" sldId="645"/>
            <ac:spMk id="145" creationId="{D13B2BF8-9A57-49F2-B054-FD04F6AD8390}"/>
          </ac:spMkLst>
        </pc:spChg>
        <pc:spChg chg="add mod">
          <ac:chgData name="Renata Festa" userId="6f22df47-533b-4c2a-a3c1-7f9ad1d63e10" providerId="ADAL" clId="{7C089C3E-F5BE-4CA8-B83E-9B6651B60167}" dt="2020-03-30T16:42:58.589" v="30" actId="1076"/>
          <ac:spMkLst>
            <pc:docMk/>
            <pc:sldMk cId="3396998821" sldId="645"/>
            <ac:spMk id="146" creationId="{2E6ABA8D-C917-4D7D-990C-542BA61CA584}"/>
          </ac:spMkLst>
        </pc:spChg>
        <pc:spChg chg="add mod">
          <ac:chgData name="Renata Festa" userId="6f22df47-533b-4c2a-a3c1-7f9ad1d63e10" providerId="ADAL" clId="{7C089C3E-F5BE-4CA8-B83E-9B6651B60167}" dt="2020-03-30T16:42:58.589" v="30" actId="1076"/>
          <ac:spMkLst>
            <pc:docMk/>
            <pc:sldMk cId="3396998821" sldId="645"/>
            <ac:spMk id="147" creationId="{D68A2ACD-659A-4A80-8CF1-666C1D0D4806}"/>
          </ac:spMkLst>
        </pc:spChg>
        <pc:spChg chg="add mod">
          <ac:chgData name="Renata Festa" userId="6f22df47-533b-4c2a-a3c1-7f9ad1d63e10" providerId="ADAL" clId="{7C089C3E-F5BE-4CA8-B83E-9B6651B60167}" dt="2020-03-30T16:42:58.589" v="30" actId="1076"/>
          <ac:spMkLst>
            <pc:docMk/>
            <pc:sldMk cId="3396998821" sldId="645"/>
            <ac:spMk id="148" creationId="{C3FF433A-BBA0-4751-813B-2795DE854213}"/>
          </ac:spMkLst>
        </pc:spChg>
        <pc:spChg chg="add mod">
          <ac:chgData name="Renata Festa" userId="6f22df47-533b-4c2a-a3c1-7f9ad1d63e10" providerId="ADAL" clId="{7C089C3E-F5BE-4CA8-B83E-9B6651B60167}" dt="2020-03-30T16:42:58.589" v="30" actId="1076"/>
          <ac:spMkLst>
            <pc:docMk/>
            <pc:sldMk cId="3396998821" sldId="645"/>
            <ac:spMk id="149" creationId="{5E4AA88C-B5BA-4E28-BF62-773D5727B64E}"/>
          </ac:spMkLst>
        </pc:spChg>
        <pc:spChg chg="add mod">
          <ac:chgData name="Renata Festa" userId="6f22df47-533b-4c2a-a3c1-7f9ad1d63e10" providerId="ADAL" clId="{7C089C3E-F5BE-4CA8-B83E-9B6651B60167}" dt="2020-03-30T16:42:58.589" v="30" actId="1076"/>
          <ac:spMkLst>
            <pc:docMk/>
            <pc:sldMk cId="3396998821" sldId="645"/>
            <ac:spMk id="150" creationId="{66603CB4-2F30-49A1-B20F-485A344862B8}"/>
          </ac:spMkLst>
        </pc:spChg>
        <pc:spChg chg="add mod">
          <ac:chgData name="Renata Festa" userId="6f22df47-533b-4c2a-a3c1-7f9ad1d63e10" providerId="ADAL" clId="{7C089C3E-F5BE-4CA8-B83E-9B6651B60167}" dt="2020-03-30T16:42:58.589" v="30" actId="1076"/>
          <ac:spMkLst>
            <pc:docMk/>
            <pc:sldMk cId="3396998821" sldId="645"/>
            <ac:spMk id="151" creationId="{84C7584E-813E-4A47-9FAE-4BFA49086BAA}"/>
          </ac:spMkLst>
        </pc:spChg>
        <pc:spChg chg="add mod">
          <ac:chgData name="Renata Festa" userId="6f22df47-533b-4c2a-a3c1-7f9ad1d63e10" providerId="ADAL" clId="{7C089C3E-F5BE-4CA8-B83E-9B6651B60167}" dt="2020-03-30T16:42:58.589" v="30" actId="1076"/>
          <ac:spMkLst>
            <pc:docMk/>
            <pc:sldMk cId="3396998821" sldId="645"/>
            <ac:spMk id="152" creationId="{862EED47-5243-4593-892F-1D7AB79E5F9E}"/>
          </ac:spMkLst>
        </pc:spChg>
        <pc:spChg chg="add mod">
          <ac:chgData name="Renata Festa" userId="6f22df47-533b-4c2a-a3c1-7f9ad1d63e10" providerId="ADAL" clId="{7C089C3E-F5BE-4CA8-B83E-9B6651B60167}" dt="2020-03-30T16:42:58.589" v="30" actId="1076"/>
          <ac:spMkLst>
            <pc:docMk/>
            <pc:sldMk cId="3396998821" sldId="645"/>
            <ac:spMk id="153" creationId="{674E9A05-C240-4524-A5C4-8C24CB34642B}"/>
          </ac:spMkLst>
        </pc:spChg>
        <pc:spChg chg="add mod">
          <ac:chgData name="Renata Festa" userId="6f22df47-533b-4c2a-a3c1-7f9ad1d63e10" providerId="ADAL" clId="{7C089C3E-F5BE-4CA8-B83E-9B6651B60167}" dt="2020-03-30T16:42:58.589" v="30" actId="1076"/>
          <ac:spMkLst>
            <pc:docMk/>
            <pc:sldMk cId="3396998821" sldId="645"/>
            <ac:spMk id="155" creationId="{62D33B3B-26EC-4660-B406-5B1EA57230F7}"/>
          </ac:spMkLst>
        </pc:spChg>
        <pc:spChg chg="add mod">
          <ac:chgData name="Renata Festa" userId="6f22df47-533b-4c2a-a3c1-7f9ad1d63e10" providerId="ADAL" clId="{7C089C3E-F5BE-4CA8-B83E-9B6651B60167}" dt="2020-03-30T16:46:49.141" v="79" actId="1037"/>
          <ac:spMkLst>
            <pc:docMk/>
            <pc:sldMk cId="3396998821" sldId="645"/>
            <ac:spMk id="161" creationId="{60372B8A-71B1-4C61-80C1-B70715879169}"/>
          </ac:spMkLst>
        </pc:spChg>
        <pc:spChg chg="add mod">
          <ac:chgData name="Renata Festa" userId="6f22df47-533b-4c2a-a3c1-7f9ad1d63e10" providerId="ADAL" clId="{7C089C3E-F5BE-4CA8-B83E-9B6651B60167}" dt="2020-03-30T16:46:35.296" v="71" actId="1076"/>
          <ac:spMkLst>
            <pc:docMk/>
            <pc:sldMk cId="3396998821" sldId="645"/>
            <ac:spMk id="168" creationId="{5A06576F-D285-4A91-9F09-8A1474A6C25D}"/>
          </ac:spMkLst>
        </pc:spChg>
        <pc:spChg chg="add mod">
          <ac:chgData name="Renata Festa" userId="6f22df47-533b-4c2a-a3c1-7f9ad1d63e10" providerId="ADAL" clId="{7C089C3E-F5BE-4CA8-B83E-9B6651B60167}" dt="2020-03-30T16:45:47.652" v="64"/>
          <ac:spMkLst>
            <pc:docMk/>
            <pc:sldMk cId="3396998821" sldId="645"/>
            <ac:spMk id="187" creationId="{12219DFA-1176-4443-A208-D04C7CCC7F64}"/>
          </ac:spMkLst>
        </pc:spChg>
        <pc:spChg chg="add del mod">
          <ac:chgData name="Renata Festa" userId="6f22df47-533b-4c2a-a3c1-7f9ad1d63e10" providerId="ADAL" clId="{7C089C3E-F5BE-4CA8-B83E-9B6651B60167}" dt="2020-03-30T16:45:40.459" v="62" actId="478"/>
          <ac:spMkLst>
            <pc:docMk/>
            <pc:sldMk cId="3396998821" sldId="645"/>
            <ac:spMk id="188" creationId="{D353B667-2754-4907-9992-0B63354F26B7}"/>
          </ac:spMkLst>
        </pc:spChg>
        <pc:spChg chg="add del mod">
          <ac:chgData name="Renata Festa" userId="6f22df47-533b-4c2a-a3c1-7f9ad1d63e10" providerId="ADAL" clId="{7C089C3E-F5BE-4CA8-B83E-9B6651B60167}" dt="2020-03-30T16:44:15.485" v="47" actId="478"/>
          <ac:spMkLst>
            <pc:docMk/>
            <pc:sldMk cId="3396998821" sldId="645"/>
            <ac:spMk id="203" creationId="{E03BAC3F-DE9B-4CFE-891C-0633D488501C}"/>
          </ac:spMkLst>
        </pc:spChg>
        <pc:spChg chg="add mod">
          <ac:chgData name="Renata Festa" userId="6f22df47-533b-4c2a-a3c1-7f9ad1d63e10" providerId="ADAL" clId="{7C089C3E-F5BE-4CA8-B83E-9B6651B60167}" dt="2020-03-30T16:44:39.383" v="52" actId="1076"/>
          <ac:spMkLst>
            <pc:docMk/>
            <pc:sldMk cId="3396998821" sldId="645"/>
            <ac:spMk id="204" creationId="{728E5078-A35C-4C74-9D99-A0BB3E49DF9A}"/>
          </ac:spMkLst>
        </pc:spChg>
        <pc:spChg chg="add mod">
          <ac:chgData name="Renata Festa" userId="6f22df47-533b-4c2a-a3c1-7f9ad1d63e10" providerId="ADAL" clId="{7C089C3E-F5BE-4CA8-B83E-9B6651B60167}" dt="2020-03-30T16:44:53.697" v="57" actId="1076"/>
          <ac:spMkLst>
            <pc:docMk/>
            <pc:sldMk cId="3396998821" sldId="645"/>
            <ac:spMk id="205" creationId="{994B26C8-1291-4DD2-B286-029D6A50A7B0}"/>
          </ac:spMkLst>
        </pc:spChg>
        <pc:grpChg chg="add del mod">
          <ac:chgData name="Renata Festa" userId="6f22df47-533b-4c2a-a3c1-7f9ad1d63e10" providerId="ADAL" clId="{7C089C3E-F5BE-4CA8-B83E-9B6651B60167}" dt="2020-03-30T16:42:45.231" v="26"/>
          <ac:grpSpMkLst>
            <pc:docMk/>
            <pc:sldMk cId="3396998821" sldId="645"/>
            <ac:grpSpMk id="12" creationId="{CD8BDE30-46AE-4B3B-8EEB-9CC0D7B00ED6}"/>
          </ac:grpSpMkLst>
        </pc:grpChg>
        <pc:grpChg chg="add del mod">
          <ac:chgData name="Renata Festa" userId="6f22df47-533b-4c2a-a3c1-7f9ad1d63e10" providerId="ADAL" clId="{7C089C3E-F5BE-4CA8-B83E-9B6651B60167}" dt="2020-03-30T16:42:45.231" v="26"/>
          <ac:grpSpMkLst>
            <pc:docMk/>
            <pc:sldMk cId="3396998821" sldId="645"/>
            <ac:grpSpMk id="27" creationId="{15574E62-5849-4C0A-8930-6DBEF835204A}"/>
          </ac:grpSpMkLst>
        </pc:grpChg>
        <pc:grpChg chg="mod">
          <ac:chgData name="Renata Festa" userId="6f22df47-533b-4c2a-a3c1-7f9ad1d63e10" providerId="ADAL" clId="{7C089C3E-F5BE-4CA8-B83E-9B6651B60167}" dt="2020-03-30T16:42:44.771" v="25" actId="14100"/>
          <ac:grpSpMkLst>
            <pc:docMk/>
            <pc:sldMk cId="3396998821" sldId="645"/>
            <ac:grpSpMk id="28" creationId="{B06DD9D9-2DE0-409B-B119-FD4B0F9044B6}"/>
          </ac:grpSpMkLst>
        </pc:grpChg>
        <pc:grpChg chg="add del mod">
          <ac:chgData name="Renata Festa" userId="6f22df47-533b-4c2a-a3c1-7f9ad1d63e10" providerId="ADAL" clId="{7C089C3E-F5BE-4CA8-B83E-9B6651B60167}" dt="2020-03-30T16:42:45.231" v="26"/>
          <ac:grpSpMkLst>
            <pc:docMk/>
            <pc:sldMk cId="3396998821" sldId="645"/>
            <ac:grpSpMk id="32" creationId="{C3935E94-B957-4068-B7BC-63B3854BB5FA}"/>
          </ac:grpSpMkLst>
        </pc:grpChg>
        <pc:grpChg chg="add del mod">
          <ac:chgData name="Renata Festa" userId="6f22df47-533b-4c2a-a3c1-7f9ad1d63e10" providerId="ADAL" clId="{7C089C3E-F5BE-4CA8-B83E-9B6651B60167}" dt="2020-03-30T16:42:45.231" v="26"/>
          <ac:grpSpMkLst>
            <pc:docMk/>
            <pc:sldMk cId="3396998821" sldId="645"/>
            <ac:grpSpMk id="65" creationId="{8124BB3B-12BE-4036-8511-402BC5BCC3AA}"/>
          </ac:grpSpMkLst>
        </pc:grpChg>
        <pc:grpChg chg="mod">
          <ac:chgData name="Renata Festa" userId="6f22df47-533b-4c2a-a3c1-7f9ad1d63e10" providerId="ADAL" clId="{7C089C3E-F5BE-4CA8-B83E-9B6651B60167}" dt="2020-03-30T16:42:44.771" v="25" actId="14100"/>
          <ac:grpSpMkLst>
            <pc:docMk/>
            <pc:sldMk cId="3396998821" sldId="645"/>
            <ac:grpSpMk id="66" creationId="{87802FEE-CAC1-4EBD-840C-89AFC7F74F33}"/>
          </ac:grpSpMkLst>
        </pc:grpChg>
        <pc:grpChg chg="mod">
          <ac:chgData name="Renata Festa" userId="6f22df47-533b-4c2a-a3c1-7f9ad1d63e10" providerId="ADAL" clId="{7C089C3E-F5BE-4CA8-B83E-9B6651B60167}" dt="2020-03-30T16:42:44.771" v="25" actId="14100"/>
          <ac:grpSpMkLst>
            <pc:docMk/>
            <pc:sldMk cId="3396998821" sldId="645"/>
            <ac:grpSpMk id="67" creationId="{8C0E85AC-B4EA-4E4F-8BD9-BEDF09AF62B7}"/>
          </ac:grpSpMkLst>
        </pc:grpChg>
        <pc:grpChg chg="mod">
          <ac:chgData name="Renata Festa" userId="6f22df47-533b-4c2a-a3c1-7f9ad1d63e10" providerId="ADAL" clId="{7C089C3E-F5BE-4CA8-B83E-9B6651B60167}" dt="2020-03-30T16:42:44.771" v="25" actId="14100"/>
          <ac:grpSpMkLst>
            <pc:docMk/>
            <pc:sldMk cId="3396998821" sldId="645"/>
            <ac:grpSpMk id="68" creationId="{0065D0B3-F044-405A-BFF0-6DDE0466939B}"/>
          </ac:grpSpMkLst>
        </pc:grpChg>
        <pc:grpChg chg="mod">
          <ac:chgData name="Renata Festa" userId="6f22df47-533b-4c2a-a3c1-7f9ad1d63e10" providerId="ADAL" clId="{7C089C3E-F5BE-4CA8-B83E-9B6651B60167}" dt="2020-03-30T16:42:44.771" v="25" actId="14100"/>
          <ac:grpSpMkLst>
            <pc:docMk/>
            <pc:sldMk cId="3396998821" sldId="645"/>
            <ac:grpSpMk id="69" creationId="{A0026262-4C79-457F-AE29-C6F1718E25FE}"/>
          </ac:grpSpMkLst>
        </pc:grpChg>
        <pc:grpChg chg="mod">
          <ac:chgData name="Renata Festa" userId="6f22df47-533b-4c2a-a3c1-7f9ad1d63e10" providerId="ADAL" clId="{7C089C3E-F5BE-4CA8-B83E-9B6651B60167}" dt="2020-03-30T16:42:44.771" v="25" actId="14100"/>
          <ac:grpSpMkLst>
            <pc:docMk/>
            <pc:sldMk cId="3396998821" sldId="645"/>
            <ac:grpSpMk id="70" creationId="{B9C44F5A-3C95-412E-9EAB-4B96A80FD2CC}"/>
          </ac:grpSpMkLst>
        </pc:grpChg>
        <pc:grpChg chg="add mod">
          <ac:chgData name="Renata Festa" userId="6f22df47-533b-4c2a-a3c1-7f9ad1d63e10" providerId="ADAL" clId="{7C089C3E-F5BE-4CA8-B83E-9B6651B60167}" dt="2020-03-30T16:42:58.589" v="30" actId="1076"/>
          <ac:grpSpMkLst>
            <pc:docMk/>
            <pc:sldMk cId="3396998821" sldId="645"/>
            <ac:grpSpMk id="118" creationId="{B3617911-B5BD-4895-9D8B-3ADA0CAC3131}"/>
          </ac:grpSpMkLst>
        </pc:grpChg>
        <pc:grpChg chg="add mod">
          <ac:chgData name="Renata Festa" userId="6f22df47-533b-4c2a-a3c1-7f9ad1d63e10" providerId="ADAL" clId="{7C089C3E-F5BE-4CA8-B83E-9B6651B60167}" dt="2020-03-30T16:46:13.983" v="67" actId="1076"/>
          <ac:grpSpMkLst>
            <pc:docMk/>
            <pc:sldMk cId="3396998821" sldId="645"/>
            <ac:grpSpMk id="133" creationId="{9E9F336F-F2D3-425C-80B9-446DDED701B3}"/>
          </ac:grpSpMkLst>
        </pc:grpChg>
        <pc:grpChg chg="mod">
          <ac:chgData name="Renata Festa" userId="6f22df47-533b-4c2a-a3c1-7f9ad1d63e10" providerId="ADAL" clId="{7C089C3E-F5BE-4CA8-B83E-9B6651B60167}" dt="2020-03-30T16:42:58.589" v="30" actId="1076"/>
          <ac:grpSpMkLst>
            <pc:docMk/>
            <pc:sldMk cId="3396998821" sldId="645"/>
            <ac:grpSpMk id="134" creationId="{65B58D96-570A-4C5D-BC38-0B4221C08B76}"/>
          </ac:grpSpMkLst>
        </pc:grpChg>
        <pc:grpChg chg="add mod">
          <ac:chgData name="Renata Festa" userId="6f22df47-533b-4c2a-a3c1-7f9ad1d63e10" providerId="ADAL" clId="{7C089C3E-F5BE-4CA8-B83E-9B6651B60167}" dt="2020-03-30T16:42:58.589" v="30" actId="1076"/>
          <ac:grpSpMkLst>
            <pc:docMk/>
            <pc:sldMk cId="3396998821" sldId="645"/>
            <ac:grpSpMk id="138" creationId="{18251EA7-728F-4970-BB1A-48913F13E3AD}"/>
          </ac:grpSpMkLst>
        </pc:grpChg>
        <pc:grpChg chg="add mod">
          <ac:chgData name="Renata Festa" userId="6f22df47-533b-4c2a-a3c1-7f9ad1d63e10" providerId="ADAL" clId="{7C089C3E-F5BE-4CA8-B83E-9B6651B60167}" dt="2020-03-30T16:42:58.589" v="30" actId="1076"/>
          <ac:grpSpMkLst>
            <pc:docMk/>
            <pc:sldMk cId="3396998821" sldId="645"/>
            <ac:grpSpMk id="171" creationId="{CD535861-D799-4461-9647-900DDAB94C1E}"/>
          </ac:grpSpMkLst>
        </pc:grpChg>
        <pc:grpChg chg="mod">
          <ac:chgData name="Renata Festa" userId="6f22df47-533b-4c2a-a3c1-7f9ad1d63e10" providerId="ADAL" clId="{7C089C3E-F5BE-4CA8-B83E-9B6651B60167}" dt="2020-03-30T16:42:58.589" v="30" actId="1076"/>
          <ac:grpSpMkLst>
            <pc:docMk/>
            <pc:sldMk cId="3396998821" sldId="645"/>
            <ac:grpSpMk id="172" creationId="{4AB5C43C-085F-4E70-B968-22296BB075D1}"/>
          </ac:grpSpMkLst>
        </pc:grpChg>
        <pc:grpChg chg="mod">
          <ac:chgData name="Renata Festa" userId="6f22df47-533b-4c2a-a3c1-7f9ad1d63e10" providerId="ADAL" clId="{7C089C3E-F5BE-4CA8-B83E-9B6651B60167}" dt="2020-03-30T16:42:58.589" v="30" actId="1076"/>
          <ac:grpSpMkLst>
            <pc:docMk/>
            <pc:sldMk cId="3396998821" sldId="645"/>
            <ac:grpSpMk id="173" creationId="{2F08195F-C0EF-4E79-BAD7-38AA704F0F5C}"/>
          </ac:grpSpMkLst>
        </pc:grpChg>
        <pc:grpChg chg="mod">
          <ac:chgData name="Renata Festa" userId="6f22df47-533b-4c2a-a3c1-7f9ad1d63e10" providerId="ADAL" clId="{7C089C3E-F5BE-4CA8-B83E-9B6651B60167}" dt="2020-03-30T16:42:58.589" v="30" actId="1076"/>
          <ac:grpSpMkLst>
            <pc:docMk/>
            <pc:sldMk cId="3396998821" sldId="645"/>
            <ac:grpSpMk id="174" creationId="{B22707DC-4BFF-4C58-99DD-5F85EFB21A3F}"/>
          </ac:grpSpMkLst>
        </pc:grpChg>
        <pc:grpChg chg="mod">
          <ac:chgData name="Renata Festa" userId="6f22df47-533b-4c2a-a3c1-7f9ad1d63e10" providerId="ADAL" clId="{7C089C3E-F5BE-4CA8-B83E-9B6651B60167}" dt="2020-03-30T16:42:58.589" v="30" actId="1076"/>
          <ac:grpSpMkLst>
            <pc:docMk/>
            <pc:sldMk cId="3396998821" sldId="645"/>
            <ac:grpSpMk id="175" creationId="{7F2029DE-ACB6-4743-9679-9BE9A4D8D46B}"/>
          </ac:grpSpMkLst>
        </pc:grpChg>
        <pc:grpChg chg="mod">
          <ac:chgData name="Renata Festa" userId="6f22df47-533b-4c2a-a3c1-7f9ad1d63e10" providerId="ADAL" clId="{7C089C3E-F5BE-4CA8-B83E-9B6651B60167}" dt="2020-03-30T16:42:58.589" v="30" actId="1076"/>
          <ac:grpSpMkLst>
            <pc:docMk/>
            <pc:sldMk cId="3396998821" sldId="645"/>
            <ac:grpSpMk id="176" creationId="{5E53C963-78E9-426C-BC9A-6865D80E3EBF}"/>
          </ac:grpSpMkLst>
        </pc:grpChg>
        <pc:picChg chg="add del">
          <ac:chgData name="Renata Festa" userId="6f22df47-533b-4c2a-a3c1-7f9ad1d63e10" providerId="ADAL" clId="{7C089C3E-F5BE-4CA8-B83E-9B6651B60167}" dt="2020-03-30T16:42:24.678" v="18"/>
          <ac:picMkLst>
            <pc:docMk/>
            <pc:sldMk cId="3396998821" sldId="645"/>
            <ac:picMk id="4" creationId="{D7E95616-7CC9-4F35-BC5A-29185FC31F94}"/>
          </ac:picMkLst>
        </pc:picChg>
        <pc:picChg chg="add del mod">
          <ac:chgData name="Renata Festa" userId="6f22df47-533b-4c2a-a3c1-7f9ad1d63e10" providerId="ADAL" clId="{7C089C3E-F5BE-4CA8-B83E-9B6651B60167}" dt="2020-03-30T16:42:45.231" v="26"/>
          <ac:picMkLst>
            <pc:docMk/>
            <pc:sldMk cId="3396998821" sldId="645"/>
            <ac:picMk id="24" creationId="{CFC0C7EB-1197-424F-86D7-5BED720670D8}"/>
          </ac:picMkLst>
        </pc:picChg>
        <pc:picChg chg="add del mod">
          <ac:chgData name="Renata Festa" userId="6f22df47-533b-4c2a-a3c1-7f9ad1d63e10" providerId="ADAL" clId="{7C089C3E-F5BE-4CA8-B83E-9B6651B60167}" dt="2020-03-30T16:42:45.231" v="26"/>
          <ac:picMkLst>
            <pc:docMk/>
            <pc:sldMk cId="3396998821" sldId="645"/>
            <ac:picMk id="25" creationId="{CC8D77B1-0D0B-49D9-BEE5-C8718319438E}"/>
          </ac:picMkLst>
        </pc:picChg>
        <pc:picChg chg="add del mod">
          <ac:chgData name="Renata Festa" userId="6f22df47-533b-4c2a-a3c1-7f9ad1d63e10" providerId="ADAL" clId="{7C089C3E-F5BE-4CA8-B83E-9B6651B60167}" dt="2020-03-30T16:42:45.231" v="26"/>
          <ac:picMkLst>
            <pc:docMk/>
            <pc:sldMk cId="3396998821" sldId="645"/>
            <ac:picMk id="48" creationId="{51F9F143-1F8D-4903-AA57-EFFB759FB193}"/>
          </ac:picMkLst>
        </pc:picChg>
        <pc:picChg chg="add mod">
          <ac:chgData name="Renata Festa" userId="6f22df47-533b-4c2a-a3c1-7f9ad1d63e10" providerId="ADAL" clId="{7C089C3E-F5BE-4CA8-B83E-9B6651B60167}" dt="2020-03-30T16:46:35.296" v="71" actId="1076"/>
          <ac:picMkLst>
            <pc:docMk/>
            <pc:sldMk cId="3396998821" sldId="645"/>
            <ac:picMk id="130" creationId="{A232FE0A-5E34-40CF-A880-7D70168D71ED}"/>
          </ac:picMkLst>
        </pc:picChg>
        <pc:picChg chg="add mod">
          <ac:chgData name="Renata Festa" userId="6f22df47-533b-4c2a-a3c1-7f9ad1d63e10" providerId="ADAL" clId="{7C089C3E-F5BE-4CA8-B83E-9B6651B60167}" dt="2020-03-30T16:47:01.316" v="80" actId="1035"/>
          <ac:picMkLst>
            <pc:docMk/>
            <pc:sldMk cId="3396998821" sldId="645"/>
            <ac:picMk id="131" creationId="{E99CDD32-ED34-4464-AD5D-A5ED79319585}"/>
          </ac:picMkLst>
        </pc:picChg>
        <pc:picChg chg="add mod">
          <ac:chgData name="Renata Festa" userId="6f22df47-533b-4c2a-a3c1-7f9ad1d63e10" providerId="ADAL" clId="{7C089C3E-F5BE-4CA8-B83E-9B6651B60167}" dt="2020-03-30T16:42:58.589" v="30" actId="1076"/>
          <ac:picMkLst>
            <pc:docMk/>
            <pc:sldMk cId="3396998821" sldId="645"/>
            <ac:picMk id="154" creationId="{C4E59521-EB6B-46F4-B707-99D0DE65C1C0}"/>
          </ac:picMkLst>
        </pc:picChg>
        <pc:picChg chg="mod">
          <ac:chgData name="Renata Festa" userId="6f22df47-533b-4c2a-a3c1-7f9ad1d63e10" providerId="ADAL" clId="{7C089C3E-F5BE-4CA8-B83E-9B6651B60167}" dt="2020-03-30T16:45:05.237" v="58" actId="14100"/>
          <ac:picMkLst>
            <pc:docMk/>
            <pc:sldMk cId="3396998821" sldId="645"/>
            <ac:picMk id="177" creationId="{E38B4E7C-7BD6-43C3-9894-F434EB00FA5A}"/>
          </ac:picMkLst>
        </pc:picChg>
        <pc:picChg chg="mod">
          <ac:chgData name="Renata Festa" userId="6f22df47-533b-4c2a-a3c1-7f9ad1d63e10" providerId="ADAL" clId="{7C089C3E-F5BE-4CA8-B83E-9B6651B60167}" dt="2020-03-30T16:45:05.237" v="58" actId="14100"/>
          <ac:picMkLst>
            <pc:docMk/>
            <pc:sldMk cId="3396998821" sldId="645"/>
            <ac:picMk id="179" creationId="{3D4E0950-B53C-4749-A9B1-1262F1DF3BE4}"/>
          </ac:picMkLst>
        </pc:picChg>
        <pc:picChg chg="mod">
          <ac:chgData name="Renata Festa" userId="6f22df47-533b-4c2a-a3c1-7f9ad1d63e10" providerId="ADAL" clId="{7C089C3E-F5BE-4CA8-B83E-9B6651B60167}" dt="2020-03-30T16:45:05.237" v="58" actId="14100"/>
          <ac:picMkLst>
            <pc:docMk/>
            <pc:sldMk cId="3396998821" sldId="645"/>
            <ac:picMk id="181" creationId="{78359163-C1D5-4B7B-AF5D-B99720624B89}"/>
          </ac:picMkLst>
        </pc:picChg>
        <pc:picChg chg="mod">
          <ac:chgData name="Renata Festa" userId="6f22df47-533b-4c2a-a3c1-7f9ad1d63e10" providerId="ADAL" clId="{7C089C3E-F5BE-4CA8-B83E-9B6651B60167}" dt="2020-03-30T16:45:05.237" v="58" actId="14100"/>
          <ac:picMkLst>
            <pc:docMk/>
            <pc:sldMk cId="3396998821" sldId="645"/>
            <ac:picMk id="183" creationId="{D50C6999-BDB7-4D30-8367-7132357D5F5F}"/>
          </ac:picMkLst>
        </pc:picChg>
        <pc:picChg chg="mod">
          <ac:chgData name="Renata Festa" userId="6f22df47-533b-4c2a-a3c1-7f9ad1d63e10" providerId="ADAL" clId="{7C089C3E-F5BE-4CA8-B83E-9B6651B60167}" dt="2020-03-30T16:45:05.237" v="58" actId="14100"/>
          <ac:picMkLst>
            <pc:docMk/>
            <pc:sldMk cId="3396998821" sldId="645"/>
            <ac:picMk id="185" creationId="{9FC726A5-0FBA-4A90-BE3E-BF2CF9F89D3D}"/>
          </ac:picMkLst>
        </pc:picChg>
        <pc:cxnChg chg="add del mod">
          <ac:chgData name="Renata Festa" userId="6f22df47-533b-4c2a-a3c1-7f9ad1d63e10" providerId="ADAL" clId="{7C089C3E-F5BE-4CA8-B83E-9B6651B60167}" dt="2020-03-30T16:42:45.231" v="26"/>
          <ac:cxnSpMkLst>
            <pc:docMk/>
            <pc:sldMk cId="3396998821" sldId="645"/>
            <ac:cxnSpMk id="11" creationId="{BA8E5839-9E35-42D7-BF07-E450B880D6A8}"/>
          </ac:cxnSpMkLst>
        </pc:cxnChg>
        <pc:cxnChg chg="add del mod">
          <ac:chgData name="Renata Festa" userId="6f22df47-533b-4c2a-a3c1-7f9ad1d63e10" providerId="ADAL" clId="{7C089C3E-F5BE-4CA8-B83E-9B6651B60167}" dt="2020-03-30T16:42:45.231" v="26"/>
          <ac:cxnSpMkLst>
            <pc:docMk/>
            <pc:sldMk cId="3396998821" sldId="645"/>
            <ac:cxnSpMk id="50" creationId="{51A66226-9A4F-4AF0-AC2E-B1E6C780CE60}"/>
          </ac:cxnSpMkLst>
        </pc:cxnChg>
        <pc:cxnChg chg="add del mod">
          <ac:chgData name="Renata Festa" userId="6f22df47-533b-4c2a-a3c1-7f9ad1d63e10" providerId="ADAL" clId="{7C089C3E-F5BE-4CA8-B83E-9B6651B60167}" dt="2020-03-30T16:42:45.231" v="26"/>
          <ac:cxnSpMkLst>
            <pc:docMk/>
            <pc:sldMk cId="3396998821" sldId="645"/>
            <ac:cxnSpMk id="51" creationId="{626D5A1E-E298-4BDE-B0B1-67AFF347E6C3}"/>
          </ac:cxnSpMkLst>
        </pc:cxnChg>
        <pc:cxnChg chg="add del mod">
          <ac:chgData name="Renata Festa" userId="6f22df47-533b-4c2a-a3c1-7f9ad1d63e10" providerId="ADAL" clId="{7C089C3E-F5BE-4CA8-B83E-9B6651B60167}" dt="2020-03-30T16:42:45.231" v="26"/>
          <ac:cxnSpMkLst>
            <pc:docMk/>
            <pc:sldMk cId="3396998821" sldId="645"/>
            <ac:cxnSpMk id="52" creationId="{4D014B43-96E3-407F-A896-592ECD84BA41}"/>
          </ac:cxnSpMkLst>
        </pc:cxnChg>
        <pc:cxnChg chg="add del mod">
          <ac:chgData name="Renata Festa" userId="6f22df47-533b-4c2a-a3c1-7f9ad1d63e10" providerId="ADAL" clId="{7C089C3E-F5BE-4CA8-B83E-9B6651B60167}" dt="2020-03-30T16:42:45.231" v="26"/>
          <ac:cxnSpMkLst>
            <pc:docMk/>
            <pc:sldMk cId="3396998821" sldId="645"/>
            <ac:cxnSpMk id="53" creationId="{8CF0983C-5895-4992-B9E4-FB797922FD59}"/>
          </ac:cxnSpMkLst>
        </pc:cxnChg>
        <pc:cxnChg chg="add del mod">
          <ac:chgData name="Renata Festa" userId="6f22df47-533b-4c2a-a3c1-7f9ad1d63e10" providerId="ADAL" clId="{7C089C3E-F5BE-4CA8-B83E-9B6651B60167}" dt="2020-03-30T16:42:45.231" v="26"/>
          <ac:cxnSpMkLst>
            <pc:docMk/>
            <pc:sldMk cId="3396998821" sldId="645"/>
            <ac:cxnSpMk id="54" creationId="{272953F8-D1B8-4440-B6F4-3C1146B9DDD0}"/>
          </ac:cxnSpMkLst>
        </pc:cxnChg>
        <pc:cxnChg chg="add del mod">
          <ac:chgData name="Renata Festa" userId="6f22df47-533b-4c2a-a3c1-7f9ad1d63e10" providerId="ADAL" clId="{7C089C3E-F5BE-4CA8-B83E-9B6651B60167}" dt="2020-03-30T16:42:45.231" v="26"/>
          <ac:cxnSpMkLst>
            <pc:docMk/>
            <pc:sldMk cId="3396998821" sldId="645"/>
            <ac:cxnSpMk id="56" creationId="{381C4FC8-0DBE-47F3-8CE3-15F49FA1C54A}"/>
          </ac:cxnSpMkLst>
        </pc:cxnChg>
        <pc:cxnChg chg="add del mod">
          <ac:chgData name="Renata Festa" userId="6f22df47-533b-4c2a-a3c1-7f9ad1d63e10" providerId="ADAL" clId="{7C089C3E-F5BE-4CA8-B83E-9B6651B60167}" dt="2020-03-30T16:42:45.231" v="26"/>
          <ac:cxnSpMkLst>
            <pc:docMk/>
            <pc:sldMk cId="3396998821" sldId="645"/>
            <ac:cxnSpMk id="57" creationId="{6DEF32E2-B078-4750-8857-A2BCCB9A7C95}"/>
          </ac:cxnSpMkLst>
        </pc:cxnChg>
        <pc:cxnChg chg="add del mod">
          <ac:chgData name="Renata Festa" userId="6f22df47-533b-4c2a-a3c1-7f9ad1d63e10" providerId="ADAL" clId="{7C089C3E-F5BE-4CA8-B83E-9B6651B60167}" dt="2020-03-30T16:42:45.231" v="26"/>
          <ac:cxnSpMkLst>
            <pc:docMk/>
            <pc:sldMk cId="3396998821" sldId="645"/>
            <ac:cxnSpMk id="58" creationId="{8DD1C13B-F865-4320-BD4F-26119017040C}"/>
          </ac:cxnSpMkLst>
        </pc:cxnChg>
        <pc:cxnChg chg="add del mod">
          <ac:chgData name="Renata Festa" userId="6f22df47-533b-4c2a-a3c1-7f9ad1d63e10" providerId="ADAL" clId="{7C089C3E-F5BE-4CA8-B83E-9B6651B60167}" dt="2020-03-30T16:42:45.231" v="26"/>
          <ac:cxnSpMkLst>
            <pc:docMk/>
            <pc:sldMk cId="3396998821" sldId="645"/>
            <ac:cxnSpMk id="59" creationId="{76FC4256-3DE0-4F6D-A93B-46143922C24A}"/>
          </ac:cxnSpMkLst>
        </pc:cxnChg>
        <pc:cxnChg chg="add del mod">
          <ac:chgData name="Renata Festa" userId="6f22df47-533b-4c2a-a3c1-7f9ad1d63e10" providerId="ADAL" clId="{7C089C3E-F5BE-4CA8-B83E-9B6651B60167}" dt="2020-03-30T16:42:45.231" v="26"/>
          <ac:cxnSpMkLst>
            <pc:docMk/>
            <pc:sldMk cId="3396998821" sldId="645"/>
            <ac:cxnSpMk id="60" creationId="{CA3CF630-DC76-4E1B-95BC-79E94EE2FCA8}"/>
          </ac:cxnSpMkLst>
        </pc:cxnChg>
        <pc:cxnChg chg="add del mod">
          <ac:chgData name="Renata Festa" userId="6f22df47-533b-4c2a-a3c1-7f9ad1d63e10" providerId="ADAL" clId="{7C089C3E-F5BE-4CA8-B83E-9B6651B60167}" dt="2020-03-30T16:42:45.231" v="26"/>
          <ac:cxnSpMkLst>
            <pc:docMk/>
            <pc:sldMk cId="3396998821" sldId="645"/>
            <ac:cxnSpMk id="61" creationId="{402B1FC5-659C-4B53-81BE-FDC0A0187CBC}"/>
          </ac:cxnSpMkLst>
        </pc:cxnChg>
        <pc:cxnChg chg="add del mod">
          <ac:chgData name="Renata Festa" userId="6f22df47-533b-4c2a-a3c1-7f9ad1d63e10" providerId="ADAL" clId="{7C089C3E-F5BE-4CA8-B83E-9B6651B60167}" dt="2020-03-30T16:42:45.231" v="26"/>
          <ac:cxnSpMkLst>
            <pc:docMk/>
            <pc:sldMk cId="3396998821" sldId="645"/>
            <ac:cxnSpMk id="63" creationId="{5C8BEE70-5533-4FBA-9F9E-B56914799C04}"/>
          </ac:cxnSpMkLst>
        </pc:cxnChg>
        <pc:cxnChg chg="add del mod">
          <ac:chgData name="Renata Festa" userId="6f22df47-533b-4c2a-a3c1-7f9ad1d63e10" providerId="ADAL" clId="{7C089C3E-F5BE-4CA8-B83E-9B6651B60167}" dt="2020-03-30T16:42:45.231" v="26"/>
          <ac:cxnSpMkLst>
            <pc:docMk/>
            <pc:sldMk cId="3396998821" sldId="645"/>
            <ac:cxnSpMk id="64" creationId="{75104B54-9FBE-4135-BC8E-C1A89024DDC1}"/>
          </ac:cxnSpMkLst>
        </pc:cxnChg>
        <pc:cxnChg chg="add mod">
          <ac:chgData name="Renata Festa" userId="6f22df47-533b-4c2a-a3c1-7f9ad1d63e10" providerId="ADAL" clId="{7C089C3E-F5BE-4CA8-B83E-9B6651B60167}" dt="2020-03-30T16:42:58.589" v="30" actId="1076"/>
          <ac:cxnSpMkLst>
            <pc:docMk/>
            <pc:sldMk cId="3396998821" sldId="645"/>
            <ac:cxnSpMk id="117" creationId="{859E2C17-6C70-4D32-841D-13D8F5A27F8E}"/>
          </ac:cxnSpMkLst>
        </pc:cxnChg>
        <pc:cxnChg chg="add mod">
          <ac:chgData name="Renata Festa" userId="6f22df47-533b-4c2a-a3c1-7f9ad1d63e10" providerId="ADAL" clId="{7C089C3E-F5BE-4CA8-B83E-9B6651B60167}" dt="2020-03-30T16:46:22.128" v="69" actId="1076"/>
          <ac:cxnSpMkLst>
            <pc:docMk/>
            <pc:sldMk cId="3396998821" sldId="645"/>
            <ac:cxnSpMk id="156" creationId="{80604FEA-D375-4505-92B1-6A4DB67DF369}"/>
          </ac:cxnSpMkLst>
        </pc:cxnChg>
        <pc:cxnChg chg="add mod">
          <ac:chgData name="Renata Festa" userId="6f22df47-533b-4c2a-a3c1-7f9ad1d63e10" providerId="ADAL" clId="{7C089C3E-F5BE-4CA8-B83E-9B6651B60167}" dt="2020-03-30T16:42:58.589" v="30" actId="1076"/>
          <ac:cxnSpMkLst>
            <pc:docMk/>
            <pc:sldMk cId="3396998821" sldId="645"/>
            <ac:cxnSpMk id="157" creationId="{CD41F44C-9814-4479-92D8-7C855CD2D247}"/>
          </ac:cxnSpMkLst>
        </pc:cxnChg>
        <pc:cxnChg chg="add mod">
          <ac:chgData name="Renata Festa" userId="6f22df47-533b-4c2a-a3c1-7f9ad1d63e10" providerId="ADAL" clId="{7C089C3E-F5BE-4CA8-B83E-9B6651B60167}" dt="2020-03-30T16:42:58.589" v="30" actId="1076"/>
          <ac:cxnSpMkLst>
            <pc:docMk/>
            <pc:sldMk cId="3396998821" sldId="645"/>
            <ac:cxnSpMk id="158" creationId="{A139E7C8-E133-4104-B5FF-FD4DE40A73CA}"/>
          </ac:cxnSpMkLst>
        </pc:cxnChg>
        <pc:cxnChg chg="add mod">
          <ac:chgData name="Renata Festa" userId="6f22df47-533b-4c2a-a3c1-7f9ad1d63e10" providerId="ADAL" clId="{7C089C3E-F5BE-4CA8-B83E-9B6651B60167}" dt="2020-03-30T16:42:58.589" v="30" actId="1076"/>
          <ac:cxnSpMkLst>
            <pc:docMk/>
            <pc:sldMk cId="3396998821" sldId="645"/>
            <ac:cxnSpMk id="159" creationId="{E153BA40-779C-4A03-BC07-BB95DBAC1E2A}"/>
          </ac:cxnSpMkLst>
        </pc:cxnChg>
        <pc:cxnChg chg="add mod">
          <ac:chgData name="Renata Festa" userId="6f22df47-533b-4c2a-a3c1-7f9ad1d63e10" providerId="ADAL" clId="{7C089C3E-F5BE-4CA8-B83E-9B6651B60167}" dt="2020-03-30T16:46:49.141" v="79" actId="1037"/>
          <ac:cxnSpMkLst>
            <pc:docMk/>
            <pc:sldMk cId="3396998821" sldId="645"/>
            <ac:cxnSpMk id="160" creationId="{FC74F527-933E-4C7D-B61A-ECFC2B2F4F4D}"/>
          </ac:cxnSpMkLst>
        </pc:cxnChg>
        <pc:cxnChg chg="add mod">
          <ac:chgData name="Renata Festa" userId="6f22df47-533b-4c2a-a3c1-7f9ad1d63e10" providerId="ADAL" clId="{7C089C3E-F5BE-4CA8-B83E-9B6651B60167}" dt="2020-03-30T16:42:58.589" v="30" actId="1076"/>
          <ac:cxnSpMkLst>
            <pc:docMk/>
            <pc:sldMk cId="3396998821" sldId="645"/>
            <ac:cxnSpMk id="162" creationId="{23901A9A-A1CA-4500-B95F-B7F58E8F92B6}"/>
          </ac:cxnSpMkLst>
        </pc:cxnChg>
        <pc:cxnChg chg="add mod">
          <ac:chgData name="Renata Festa" userId="6f22df47-533b-4c2a-a3c1-7f9ad1d63e10" providerId="ADAL" clId="{7C089C3E-F5BE-4CA8-B83E-9B6651B60167}" dt="2020-03-30T16:42:58.589" v="30" actId="1076"/>
          <ac:cxnSpMkLst>
            <pc:docMk/>
            <pc:sldMk cId="3396998821" sldId="645"/>
            <ac:cxnSpMk id="163" creationId="{E6BFA7B8-6B22-4320-BA14-7FD65196BB05}"/>
          </ac:cxnSpMkLst>
        </pc:cxnChg>
        <pc:cxnChg chg="add mod">
          <ac:chgData name="Renata Festa" userId="6f22df47-533b-4c2a-a3c1-7f9ad1d63e10" providerId="ADAL" clId="{7C089C3E-F5BE-4CA8-B83E-9B6651B60167}" dt="2020-03-30T16:46:18.174" v="68" actId="1076"/>
          <ac:cxnSpMkLst>
            <pc:docMk/>
            <pc:sldMk cId="3396998821" sldId="645"/>
            <ac:cxnSpMk id="164" creationId="{CB699761-EBCA-4D7F-B5B6-7F8F5922E851}"/>
          </ac:cxnSpMkLst>
        </pc:cxnChg>
        <pc:cxnChg chg="add mod">
          <ac:chgData name="Renata Festa" userId="6f22df47-533b-4c2a-a3c1-7f9ad1d63e10" providerId="ADAL" clId="{7C089C3E-F5BE-4CA8-B83E-9B6651B60167}" dt="2020-03-30T16:42:58.589" v="30" actId="1076"/>
          <ac:cxnSpMkLst>
            <pc:docMk/>
            <pc:sldMk cId="3396998821" sldId="645"/>
            <ac:cxnSpMk id="165" creationId="{177958CE-BBB1-4F6C-B06C-9F6CACBFE33A}"/>
          </ac:cxnSpMkLst>
        </pc:cxnChg>
        <pc:cxnChg chg="add mod">
          <ac:chgData name="Renata Festa" userId="6f22df47-533b-4c2a-a3c1-7f9ad1d63e10" providerId="ADAL" clId="{7C089C3E-F5BE-4CA8-B83E-9B6651B60167}" dt="2020-03-30T16:42:58.589" v="30" actId="1076"/>
          <ac:cxnSpMkLst>
            <pc:docMk/>
            <pc:sldMk cId="3396998821" sldId="645"/>
            <ac:cxnSpMk id="166" creationId="{3F2C0B34-5124-47F5-BD61-3D7F526ECD2A}"/>
          </ac:cxnSpMkLst>
        </pc:cxnChg>
        <pc:cxnChg chg="add mod">
          <ac:chgData name="Renata Festa" userId="6f22df47-533b-4c2a-a3c1-7f9ad1d63e10" providerId="ADAL" clId="{7C089C3E-F5BE-4CA8-B83E-9B6651B60167}" dt="2020-03-30T16:46:28.183" v="70" actId="1076"/>
          <ac:cxnSpMkLst>
            <pc:docMk/>
            <pc:sldMk cId="3396998821" sldId="645"/>
            <ac:cxnSpMk id="167" creationId="{F6D3F4D1-2122-4013-BE47-493AC0285E53}"/>
          </ac:cxnSpMkLst>
        </pc:cxnChg>
        <pc:cxnChg chg="add mod">
          <ac:chgData name="Renata Festa" userId="6f22df47-533b-4c2a-a3c1-7f9ad1d63e10" providerId="ADAL" clId="{7C089C3E-F5BE-4CA8-B83E-9B6651B60167}" dt="2020-03-30T16:42:58.589" v="30" actId="1076"/>
          <ac:cxnSpMkLst>
            <pc:docMk/>
            <pc:sldMk cId="3396998821" sldId="645"/>
            <ac:cxnSpMk id="169" creationId="{7AD8B581-D34F-4BF1-ADD2-D4FC16F1976D}"/>
          </ac:cxnSpMkLst>
        </pc:cxnChg>
        <pc:cxnChg chg="add mod">
          <ac:chgData name="Renata Festa" userId="6f22df47-533b-4c2a-a3c1-7f9ad1d63e10" providerId="ADAL" clId="{7C089C3E-F5BE-4CA8-B83E-9B6651B60167}" dt="2020-03-30T16:42:58.589" v="30" actId="1076"/>
          <ac:cxnSpMkLst>
            <pc:docMk/>
            <pc:sldMk cId="3396998821" sldId="645"/>
            <ac:cxnSpMk id="170" creationId="{AD7DA811-FA75-4464-A662-3949AD6254E1}"/>
          </ac:cxnSpMkLst>
        </pc:cxnChg>
      </pc:sldChg>
      <pc:sldChg chg="addSp delSp modSp add mod modAnim">
        <pc:chgData name="Renata Festa" userId="6f22df47-533b-4c2a-a3c1-7f9ad1d63e10" providerId="ADAL" clId="{7C089C3E-F5BE-4CA8-B83E-9B6651B60167}" dt="2020-03-30T16:48:39.355" v="101" actId="14100"/>
        <pc:sldMkLst>
          <pc:docMk/>
          <pc:sldMk cId="444186627" sldId="646"/>
        </pc:sldMkLst>
        <pc:spChg chg="mod">
          <ac:chgData name="Renata Festa" userId="6f22df47-533b-4c2a-a3c1-7f9ad1d63e10" providerId="ADAL" clId="{7C089C3E-F5BE-4CA8-B83E-9B6651B60167}" dt="2020-03-30T16:47:23.362" v="86"/>
          <ac:spMkLst>
            <pc:docMk/>
            <pc:sldMk cId="444186627" sldId="646"/>
            <ac:spMk id="2" creationId="{34FDF95C-850C-4836-975A-DEBE62E2CE5A}"/>
          </ac:spMkLst>
        </pc:spChg>
        <pc:spChg chg="del mod">
          <ac:chgData name="Renata Festa" userId="6f22df47-533b-4c2a-a3c1-7f9ad1d63e10" providerId="ADAL" clId="{7C089C3E-F5BE-4CA8-B83E-9B6651B60167}" dt="2020-03-30T16:48:19.217" v="98" actId="12084"/>
          <ac:spMkLst>
            <pc:docMk/>
            <pc:sldMk cId="444186627" sldId="646"/>
            <ac:spMk id="3" creationId="{66990D60-9675-478D-9D86-B9BB8EF53DA2}"/>
          </ac:spMkLst>
        </pc:spChg>
        <pc:graphicFrameChg chg="add mod">
          <ac:chgData name="Renata Festa" userId="6f22df47-533b-4c2a-a3c1-7f9ad1d63e10" providerId="ADAL" clId="{7C089C3E-F5BE-4CA8-B83E-9B6651B60167}" dt="2020-03-30T16:48:19.217" v="98" actId="12084"/>
          <ac:graphicFrameMkLst>
            <pc:docMk/>
            <pc:sldMk cId="444186627" sldId="646"/>
            <ac:graphicFrameMk id="6" creationId="{75B22516-78CB-4C57-B8A4-15D316122D4E}"/>
          </ac:graphicFrameMkLst>
        </pc:graphicFrameChg>
        <pc:picChg chg="add mod">
          <ac:chgData name="Renata Festa" userId="6f22df47-533b-4c2a-a3c1-7f9ad1d63e10" providerId="ADAL" clId="{7C089C3E-F5BE-4CA8-B83E-9B6651B60167}" dt="2020-03-30T16:48:14.115" v="97" actId="1076"/>
          <ac:picMkLst>
            <pc:docMk/>
            <pc:sldMk cId="444186627" sldId="646"/>
            <ac:picMk id="4" creationId="{B13520A3-DFE7-4E64-BC21-3963D83DDF99}"/>
          </ac:picMkLst>
        </pc:picChg>
        <pc:picChg chg="add mod">
          <ac:chgData name="Renata Festa" userId="6f22df47-533b-4c2a-a3c1-7f9ad1d63e10" providerId="ADAL" clId="{7C089C3E-F5BE-4CA8-B83E-9B6651B60167}" dt="2020-03-30T16:48:39.355" v="101" actId="14100"/>
          <ac:picMkLst>
            <pc:docMk/>
            <pc:sldMk cId="444186627" sldId="646"/>
            <ac:picMk id="5" creationId="{9F791B44-A9FF-43EE-9D15-3F795BFE78C8}"/>
          </ac:picMkLst>
        </pc:picChg>
      </pc:sldChg>
      <pc:sldChg chg="addSp delSp modSp add mod modAnim">
        <pc:chgData name="Renata Festa" userId="6f22df47-533b-4c2a-a3c1-7f9ad1d63e10" providerId="ADAL" clId="{7C089C3E-F5BE-4CA8-B83E-9B6651B60167}" dt="2020-03-30T16:52:39.391" v="141"/>
        <pc:sldMkLst>
          <pc:docMk/>
          <pc:sldMk cId="3027092319" sldId="647"/>
        </pc:sldMkLst>
        <pc:spChg chg="mod">
          <ac:chgData name="Renata Festa" userId="6f22df47-533b-4c2a-a3c1-7f9ad1d63e10" providerId="ADAL" clId="{7C089C3E-F5BE-4CA8-B83E-9B6651B60167}" dt="2020-03-30T16:49:39.798" v="108"/>
          <ac:spMkLst>
            <pc:docMk/>
            <pc:sldMk cId="3027092319" sldId="647"/>
            <ac:spMk id="2" creationId="{7EBC93F5-60CE-4FCF-B85F-67A31B7FEFA0}"/>
          </ac:spMkLst>
        </pc:spChg>
        <pc:spChg chg="del mod">
          <ac:chgData name="Renata Festa" userId="6f22df47-533b-4c2a-a3c1-7f9ad1d63e10" providerId="ADAL" clId="{7C089C3E-F5BE-4CA8-B83E-9B6651B60167}" dt="2020-03-30T16:51:15.600" v="123" actId="12084"/>
          <ac:spMkLst>
            <pc:docMk/>
            <pc:sldMk cId="3027092319" sldId="647"/>
            <ac:spMk id="3" creationId="{94C153A4-E2F9-4C2B-9608-A004AC42E477}"/>
          </ac:spMkLst>
        </pc:spChg>
        <pc:graphicFrameChg chg="add mod">
          <ac:chgData name="Renata Festa" userId="6f22df47-533b-4c2a-a3c1-7f9ad1d63e10" providerId="ADAL" clId="{7C089C3E-F5BE-4CA8-B83E-9B6651B60167}" dt="2020-03-30T16:51:28.232" v="128" actId="403"/>
          <ac:graphicFrameMkLst>
            <pc:docMk/>
            <pc:sldMk cId="3027092319" sldId="647"/>
            <ac:graphicFrameMk id="5" creationId="{24414335-65B0-436E-BAE6-FBA78EFBAB8C}"/>
          </ac:graphicFrameMkLst>
        </pc:graphicFrameChg>
        <pc:picChg chg="add del mod">
          <ac:chgData name="Renata Festa" userId="6f22df47-533b-4c2a-a3c1-7f9ad1d63e10" providerId="ADAL" clId="{7C089C3E-F5BE-4CA8-B83E-9B6651B60167}" dt="2020-03-30T16:51:56.544" v="135" actId="478"/>
          <ac:picMkLst>
            <pc:docMk/>
            <pc:sldMk cId="3027092319" sldId="647"/>
            <ac:picMk id="4" creationId="{F6184069-22E0-4F64-AD9D-FA3AE63DFA55}"/>
          </ac:picMkLst>
        </pc:picChg>
        <pc:picChg chg="add mod">
          <ac:chgData name="Renata Festa" userId="6f22df47-533b-4c2a-a3c1-7f9ad1d63e10" providerId="ADAL" clId="{7C089C3E-F5BE-4CA8-B83E-9B6651B60167}" dt="2020-03-30T16:52:10.480" v="137" actId="1076"/>
          <ac:picMkLst>
            <pc:docMk/>
            <pc:sldMk cId="3027092319" sldId="647"/>
            <ac:picMk id="6" creationId="{A2F9D861-46C7-4B82-8757-2091906DB610}"/>
          </ac:picMkLst>
        </pc:picChg>
        <pc:picChg chg="add mod">
          <ac:chgData name="Renata Festa" userId="6f22df47-533b-4c2a-a3c1-7f9ad1d63e10" providerId="ADAL" clId="{7C089C3E-F5BE-4CA8-B83E-9B6651B60167}" dt="2020-03-30T16:52:10.480" v="137" actId="1076"/>
          <ac:picMkLst>
            <pc:docMk/>
            <pc:sldMk cId="3027092319" sldId="647"/>
            <ac:picMk id="7" creationId="{45EEC88B-8711-4C9B-B67E-70B32CDC4105}"/>
          </ac:picMkLst>
        </pc:picChg>
        <pc:picChg chg="add mod">
          <ac:chgData name="Renata Festa" userId="6f22df47-533b-4c2a-a3c1-7f9ad1d63e10" providerId="ADAL" clId="{7C089C3E-F5BE-4CA8-B83E-9B6651B60167}" dt="2020-03-30T16:52:10.480" v="137" actId="1076"/>
          <ac:picMkLst>
            <pc:docMk/>
            <pc:sldMk cId="3027092319" sldId="647"/>
            <ac:picMk id="8" creationId="{9C8A52D1-9C22-4617-B03E-DE1933C7B790}"/>
          </ac:picMkLst>
        </pc:picChg>
        <pc:picChg chg="add mod">
          <ac:chgData name="Renata Festa" userId="6f22df47-533b-4c2a-a3c1-7f9ad1d63e10" providerId="ADAL" clId="{7C089C3E-F5BE-4CA8-B83E-9B6651B60167}" dt="2020-03-30T16:52:10.480" v="137" actId="1076"/>
          <ac:picMkLst>
            <pc:docMk/>
            <pc:sldMk cId="3027092319" sldId="647"/>
            <ac:picMk id="9" creationId="{05D417CC-4B8A-4A55-8615-735D7F8C37EB}"/>
          </ac:picMkLst>
        </pc:picChg>
        <pc:picChg chg="add mod">
          <ac:chgData name="Renata Festa" userId="6f22df47-533b-4c2a-a3c1-7f9ad1d63e10" providerId="ADAL" clId="{7C089C3E-F5BE-4CA8-B83E-9B6651B60167}" dt="2020-03-30T16:52:10.480" v="137" actId="1076"/>
          <ac:picMkLst>
            <pc:docMk/>
            <pc:sldMk cId="3027092319" sldId="647"/>
            <ac:picMk id="10" creationId="{C1A6BF8B-BD08-407A-A080-AFD3FF5240CF}"/>
          </ac:picMkLst>
        </pc:picChg>
      </pc:sldChg>
      <pc:sldChg chg="add del">
        <pc:chgData name="Renata Festa" userId="6f22df47-533b-4c2a-a3c1-7f9ad1d63e10" providerId="ADAL" clId="{7C089C3E-F5BE-4CA8-B83E-9B6651B60167}" dt="2020-03-30T16:48:51.988" v="102" actId="47"/>
        <pc:sldMkLst>
          <pc:docMk/>
          <pc:sldMk cId="3709044290" sldId="647"/>
        </pc:sldMkLst>
      </pc:sldChg>
      <pc:sldChg chg="add del">
        <pc:chgData name="Renata Festa" userId="6f22df47-533b-4c2a-a3c1-7f9ad1d63e10" providerId="ADAL" clId="{7C089C3E-F5BE-4CA8-B83E-9B6651B60167}" dt="2020-03-30T16:53:45.848" v="157" actId="47"/>
        <pc:sldMkLst>
          <pc:docMk/>
          <pc:sldMk cId="76529705" sldId="648"/>
        </pc:sldMkLst>
      </pc:sldChg>
      <pc:sldChg chg="add del">
        <pc:chgData name="Renata Festa" userId="6f22df47-533b-4c2a-a3c1-7f9ad1d63e10" providerId="ADAL" clId="{7C089C3E-F5BE-4CA8-B83E-9B6651B60167}" dt="2020-03-30T16:48:51.988" v="102" actId="47"/>
        <pc:sldMkLst>
          <pc:docMk/>
          <pc:sldMk cId="3456004907" sldId="648"/>
        </pc:sldMkLst>
      </pc:sldChg>
      <pc:sldChg chg="modSp add mod">
        <pc:chgData name="Renata Festa" userId="6f22df47-533b-4c2a-a3c1-7f9ad1d63e10" providerId="ADAL" clId="{7C089C3E-F5BE-4CA8-B83E-9B6651B60167}" dt="2020-03-30T16:53:34.804" v="156" actId="20577"/>
        <pc:sldMkLst>
          <pc:docMk/>
          <pc:sldMk cId="363707813" sldId="649"/>
        </pc:sldMkLst>
        <pc:spChg chg="mod">
          <ac:chgData name="Renata Festa" userId="6f22df47-533b-4c2a-a3c1-7f9ad1d63e10" providerId="ADAL" clId="{7C089C3E-F5BE-4CA8-B83E-9B6651B60167}" dt="2020-03-30T16:53:34.804" v="156" actId="20577"/>
          <ac:spMkLst>
            <pc:docMk/>
            <pc:sldMk cId="363707813" sldId="649"/>
            <ac:spMk id="3" creationId="{8F64A22E-2B43-4FC6-AF08-0CDB3F9E9269}"/>
          </ac:spMkLst>
        </pc:spChg>
        <pc:spChg chg="mod">
          <ac:chgData name="Renata Festa" userId="6f22df47-533b-4c2a-a3c1-7f9ad1d63e10" providerId="ADAL" clId="{7C089C3E-F5BE-4CA8-B83E-9B6651B60167}" dt="2020-03-30T16:53:30.595" v="147" actId="20577"/>
          <ac:spMkLst>
            <pc:docMk/>
            <pc:sldMk cId="363707813" sldId="649"/>
            <ac:spMk id="6" creationId="{637E159C-9ACF-48AE-927A-D5FB13695C7F}"/>
          </ac:spMkLst>
        </pc:spChg>
      </pc:sldChg>
      <pc:sldChg chg="add del">
        <pc:chgData name="Renata Festa" userId="6f22df47-533b-4c2a-a3c1-7f9ad1d63e10" providerId="ADAL" clId="{7C089C3E-F5BE-4CA8-B83E-9B6651B60167}" dt="2020-03-30T16:48:51.988" v="102" actId="47"/>
        <pc:sldMkLst>
          <pc:docMk/>
          <pc:sldMk cId="705507856" sldId="649"/>
        </pc:sldMkLst>
      </pc:sldChg>
      <pc:sldChg chg="addSp modSp add mod">
        <pc:chgData name="Renata Festa" userId="6f22df47-533b-4c2a-a3c1-7f9ad1d63e10" providerId="ADAL" clId="{7C089C3E-F5BE-4CA8-B83E-9B6651B60167}" dt="2020-03-30T16:54:48.578" v="171" actId="1076"/>
        <pc:sldMkLst>
          <pc:docMk/>
          <pc:sldMk cId="1209364596" sldId="650"/>
        </pc:sldMkLst>
        <pc:spChg chg="mod">
          <ac:chgData name="Renata Festa" userId="6f22df47-533b-4c2a-a3c1-7f9ad1d63e10" providerId="ADAL" clId="{7C089C3E-F5BE-4CA8-B83E-9B6651B60167}" dt="2020-03-30T16:54:35.651" v="169"/>
          <ac:spMkLst>
            <pc:docMk/>
            <pc:sldMk cId="1209364596" sldId="650"/>
            <ac:spMk id="2" creationId="{1C59F44D-17DB-45B8-9B96-1DC49BCD933D}"/>
          </ac:spMkLst>
        </pc:spChg>
        <pc:graphicFrameChg chg="add mod">
          <ac:chgData name="Renata Festa" userId="6f22df47-533b-4c2a-a3c1-7f9ad1d63e10" providerId="ADAL" clId="{7C089C3E-F5BE-4CA8-B83E-9B6651B60167}" dt="2020-03-30T16:54:48.578" v="171" actId="1076"/>
          <ac:graphicFrameMkLst>
            <pc:docMk/>
            <pc:sldMk cId="1209364596" sldId="650"/>
            <ac:graphicFrameMk id="4" creationId="{628CC096-9C15-40B3-B3B6-9F2905FC96D7}"/>
          </ac:graphicFrameMkLst>
        </pc:graphicFrameChg>
      </pc:sldChg>
      <pc:sldChg chg="add del">
        <pc:chgData name="Renata Festa" userId="6f22df47-533b-4c2a-a3c1-7f9ad1d63e10" providerId="ADAL" clId="{7C089C3E-F5BE-4CA8-B83E-9B6651B60167}" dt="2020-03-30T16:48:51.988" v="102" actId="47"/>
        <pc:sldMkLst>
          <pc:docMk/>
          <pc:sldMk cId="2150988533" sldId="650"/>
        </pc:sldMkLst>
      </pc:sldChg>
      <pc:sldChg chg="add del">
        <pc:chgData name="Renata Festa" userId="6f22df47-533b-4c2a-a3c1-7f9ad1d63e10" providerId="ADAL" clId="{7C089C3E-F5BE-4CA8-B83E-9B6651B60167}" dt="2020-03-30T16:48:51.988" v="102" actId="47"/>
        <pc:sldMkLst>
          <pc:docMk/>
          <pc:sldMk cId="727444275" sldId="651"/>
        </pc:sldMkLst>
      </pc:sldChg>
      <pc:sldChg chg="addSp delSp modSp add mod">
        <pc:chgData name="Renata Festa" userId="6f22df47-533b-4c2a-a3c1-7f9ad1d63e10" providerId="ADAL" clId="{7C089C3E-F5BE-4CA8-B83E-9B6651B60167}" dt="2020-03-30T16:58:37.155" v="210" actId="1076"/>
        <pc:sldMkLst>
          <pc:docMk/>
          <pc:sldMk cId="2985768160" sldId="651"/>
        </pc:sldMkLst>
        <pc:spChg chg="mod">
          <ac:chgData name="Renata Festa" userId="6f22df47-533b-4c2a-a3c1-7f9ad1d63e10" providerId="ADAL" clId="{7C089C3E-F5BE-4CA8-B83E-9B6651B60167}" dt="2020-03-30T16:56:38.475" v="185"/>
          <ac:spMkLst>
            <pc:docMk/>
            <pc:sldMk cId="2985768160" sldId="651"/>
            <ac:spMk id="2" creationId="{292A2E7C-D12F-43F9-9DA1-A806CCE1C521}"/>
          </ac:spMkLst>
        </pc:spChg>
        <pc:spChg chg="del mod">
          <ac:chgData name="Renata Festa" userId="6f22df47-533b-4c2a-a3c1-7f9ad1d63e10" providerId="ADAL" clId="{7C089C3E-F5BE-4CA8-B83E-9B6651B60167}" dt="2020-03-30T16:58:12.723" v="205" actId="12084"/>
          <ac:spMkLst>
            <pc:docMk/>
            <pc:sldMk cId="2985768160" sldId="651"/>
            <ac:spMk id="3" creationId="{F70516B3-7DE3-4D95-A56F-2BBDF0281B29}"/>
          </ac:spMkLst>
        </pc:spChg>
        <pc:spChg chg="add del mod">
          <ac:chgData name="Renata Festa" userId="6f22df47-533b-4c2a-a3c1-7f9ad1d63e10" providerId="ADAL" clId="{7C089C3E-F5BE-4CA8-B83E-9B6651B60167}" dt="2020-03-30T16:57:17.343" v="193"/>
          <ac:spMkLst>
            <pc:docMk/>
            <pc:sldMk cId="2985768160" sldId="651"/>
            <ac:spMk id="4" creationId="{EADD050E-5BB4-4BFE-87CB-2E92DFAB92CC}"/>
          </ac:spMkLst>
        </pc:spChg>
        <pc:spChg chg="add del mod">
          <ac:chgData name="Renata Festa" userId="6f22df47-533b-4c2a-a3c1-7f9ad1d63e10" providerId="ADAL" clId="{7C089C3E-F5BE-4CA8-B83E-9B6651B60167}" dt="2020-03-30T16:56:59.587" v="189" actId="478"/>
          <ac:spMkLst>
            <pc:docMk/>
            <pc:sldMk cId="2985768160" sldId="651"/>
            <ac:spMk id="5" creationId="{1134F9B8-26CF-4107-B4E5-A8C45EA0E194}"/>
          </ac:spMkLst>
        </pc:spChg>
        <pc:graphicFrameChg chg="add mod">
          <ac:chgData name="Renata Festa" userId="6f22df47-533b-4c2a-a3c1-7f9ad1d63e10" providerId="ADAL" clId="{7C089C3E-F5BE-4CA8-B83E-9B6651B60167}" dt="2020-03-30T16:58:26.970" v="209" actId="14100"/>
          <ac:graphicFrameMkLst>
            <pc:docMk/>
            <pc:sldMk cId="2985768160" sldId="651"/>
            <ac:graphicFrameMk id="7" creationId="{E1405E2B-EFB8-4DAA-90DB-B37882A14E5C}"/>
          </ac:graphicFrameMkLst>
        </pc:graphicFrameChg>
        <pc:picChg chg="add mod">
          <ac:chgData name="Renata Festa" userId="6f22df47-533b-4c2a-a3c1-7f9ad1d63e10" providerId="ADAL" clId="{7C089C3E-F5BE-4CA8-B83E-9B6651B60167}" dt="2020-03-30T16:58:37.155" v="210" actId="1076"/>
          <ac:picMkLst>
            <pc:docMk/>
            <pc:sldMk cId="2985768160" sldId="651"/>
            <ac:picMk id="6" creationId="{AF50A132-6AFE-4904-9FDA-06C8CD068914}"/>
          </ac:picMkLst>
        </pc:picChg>
      </pc:sldChg>
      <pc:sldChg chg="add del">
        <pc:chgData name="Renata Festa" userId="6f22df47-533b-4c2a-a3c1-7f9ad1d63e10" providerId="ADAL" clId="{7C089C3E-F5BE-4CA8-B83E-9B6651B60167}" dt="2020-03-30T16:55:12.508" v="172" actId="47"/>
        <pc:sldMkLst>
          <pc:docMk/>
          <pc:sldMk cId="3821926266" sldId="651"/>
        </pc:sldMkLst>
      </pc:sldChg>
      <pc:sldChg chg="add del">
        <pc:chgData name="Renata Festa" userId="6f22df47-533b-4c2a-a3c1-7f9ad1d63e10" providerId="ADAL" clId="{7C089C3E-F5BE-4CA8-B83E-9B6651B60167}" dt="2020-03-30T16:55:12.508" v="172" actId="47"/>
        <pc:sldMkLst>
          <pc:docMk/>
          <pc:sldMk cId="210920" sldId="652"/>
        </pc:sldMkLst>
      </pc:sldChg>
      <pc:sldChg chg="addSp delSp modSp add mod modAnim">
        <pc:chgData name="Renata Festa" userId="6f22df47-533b-4c2a-a3c1-7f9ad1d63e10" providerId="ADAL" clId="{7C089C3E-F5BE-4CA8-B83E-9B6651B60167}" dt="2020-03-30T17:00:42.191" v="242"/>
        <pc:sldMkLst>
          <pc:docMk/>
          <pc:sldMk cId="2082481495" sldId="652"/>
        </pc:sldMkLst>
        <pc:spChg chg="mod">
          <ac:chgData name="Renata Festa" userId="6f22df47-533b-4c2a-a3c1-7f9ad1d63e10" providerId="ADAL" clId="{7C089C3E-F5BE-4CA8-B83E-9B6651B60167}" dt="2020-03-30T16:58:44.066" v="211"/>
          <ac:spMkLst>
            <pc:docMk/>
            <pc:sldMk cId="2082481495" sldId="652"/>
            <ac:spMk id="2" creationId="{292A2E7C-D12F-43F9-9DA1-A806CCE1C521}"/>
          </ac:spMkLst>
        </pc:spChg>
        <pc:spChg chg="del mod">
          <ac:chgData name="Renata Festa" userId="6f22df47-533b-4c2a-a3c1-7f9ad1d63e10" providerId="ADAL" clId="{7C089C3E-F5BE-4CA8-B83E-9B6651B60167}" dt="2020-03-30T16:59:50.649" v="233" actId="12084"/>
          <ac:spMkLst>
            <pc:docMk/>
            <pc:sldMk cId="2082481495" sldId="652"/>
            <ac:spMk id="3" creationId="{F70516B3-7DE3-4D95-A56F-2BBDF0281B29}"/>
          </ac:spMkLst>
        </pc:spChg>
        <pc:spChg chg="add mod">
          <ac:chgData name="Renata Festa" userId="6f22df47-533b-4c2a-a3c1-7f9ad1d63e10" providerId="ADAL" clId="{7C089C3E-F5BE-4CA8-B83E-9B6651B60167}" dt="2020-03-30T17:00:08.607" v="238" actId="14100"/>
          <ac:spMkLst>
            <pc:docMk/>
            <pc:sldMk cId="2082481495" sldId="652"/>
            <ac:spMk id="6" creationId="{54EB6A82-2749-4494-A50C-3C8B7EBCBB38}"/>
          </ac:spMkLst>
        </pc:spChg>
        <pc:graphicFrameChg chg="add mod">
          <ac:chgData name="Renata Festa" userId="6f22df47-533b-4c2a-a3c1-7f9ad1d63e10" providerId="ADAL" clId="{7C089C3E-F5BE-4CA8-B83E-9B6651B60167}" dt="2020-03-30T16:59:50.649" v="233" actId="12084"/>
          <ac:graphicFrameMkLst>
            <pc:docMk/>
            <pc:sldMk cId="2082481495" sldId="652"/>
            <ac:graphicFrameMk id="5" creationId="{9E906C23-3962-48D7-8FAB-819D246220AC}"/>
          </ac:graphicFrameMkLst>
        </pc:graphicFrameChg>
        <pc:picChg chg="add mod">
          <ac:chgData name="Renata Festa" userId="6f22df47-533b-4c2a-a3c1-7f9ad1d63e10" providerId="ADAL" clId="{7C089C3E-F5BE-4CA8-B83E-9B6651B60167}" dt="2020-03-30T17:00:14.783" v="239" actId="14100"/>
          <ac:picMkLst>
            <pc:docMk/>
            <pc:sldMk cId="2082481495" sldId="652"/>
            <ac:picMk id="4" creationId="{F59DDDF5-0B23-4B1A-89B4-01E9BB9661A2}"/>
          </ac:picMkLst>
        </pc:picChg>
      </pc:sldChg>
      <pc:sldChg chg="add del">
        <pc:chgData name="Renata Festa" userId="6f22df47-533b-4c2a-a3c1-7f9ad1d63e10" providerId="ADAL" clId="{7C089C3E-F5BE-4CA8-B83E-9B6651B60167}" dt="2020-03-30T16:48:51.988" v="102" actId="47"/>
        <pc:sldMkLst>
          <pc:docMk/>
          <pc:sldMk cId="3812055027" sldId="652"/>
        </pc:sldMkLst>
      </pc:sldChg>
      <pc:sldChg chg="add del">
        <pc:chgData name="Renata Festa" userId="6f22df47-533b-4c2a-a3c1-7f9ad1d63e10" providerId="ADAL" clId="{7C089C3E-F5BE-4CA8-B83E-9B6651B60167}" dt="2020-03-30T16:55:12.508" v="172" actId="47"/>
        <pc:sldMkLst>
          <pc:docMk/>
          <pc:sldMk cId="699009745" sldId="653"/>
        </pc:sldMkLst>
      </pc:sldChg>
      <pc:sldChg chg="addSp delSp modSp add mod modAnim">
        <pc:chgData name="Renata Festa" userId="6f22df47-533b-4c2a-a3c1-7f9ad1d63e10" providerId="ADAL" clId="{7C089C3E-F5BE-4CA8-B83E-9B6651B60167}" dt="2020-03-30T17:11:40.164" v="352"/>
        <pc:sldMkLst>
          <pc:docMk/>
          <pc:sldMk cId="1633852438" sldId="653"/>
        </pc:sldMkLst>
        <pc:spChg chg="mod">
          <ac:chgData name="Renata Festa" userId="6f22df47-533b-4c2a-a3c1-7f9ad1d63e10" providerId="ADAL" clId="{7C089C3E-F5BE-4CA8-B83E-9B6651B60167}" dt="2020-03-30T17:02:46.198" v="258" actId="20577"/>
          <ac:spMkLst>
            <pc:docMk/>
            <pc:sldMk cId="1633852438" sldId="653"/>
            <ac:spMk id="2" creationId="{7F724C39-08AB-425C-862A-8F64BC3621E6}"/>
          </ac:spMkLst>
        </pc:spChg>
        <pc:spChg chg="del mod">
          <ac:chgData name="Renata Festa" userId="6f22df47-533b-4c2a-a3c1-7f9ad1d63e10" providerId="ADAL" clId="{7C089C3E-F5BE-4CA8-B83E-9B6651B60167}" dt="2020-03-30T17:04:05.180" v="271" actId="12084"/>
          <ac:spMkLst>
            <pc:docMk/>
            <pc:sldMk cId="1633852438" sldId="653"/>
            <ac:spMk id="3" creationId="{BFEDD7F7-468A-403D-AFE1-C912CB6B4E07}"/>
          </ac:spMkLst>
        </pc:spChg>
        <pc:graphicFrameChg chg="add mod">
          <ac:chgData name="Renata Festa" userId="6f22df47-533b-4c2a-a3c1-7f9ad1d63e10" providerId="ADAL" clId="{7C089C3E-F5BE-4CA8-B83E-9B6651B60167}" dt="2020-03-30T17:04:49.369" v="280" actId="403"/>
          <ac:graphicFrameMkLst>
            <pc:docMk/>
            <pc:sldMk cId="1633852438" sldId="653"/>
            <ac:graphicFrameMk id="11" creationId="{E369D871-2F68-441B-93D9-3F005256B8F8}"/>
          </ac:graphicFrameMkLst>
        </pc:graphicFrameChg>
        <pc:picChg chg="add mod ord">
          <ac:chgData name="Renata Festa" userId="6f22df47-533b-4c2a-a3c1-7f9ad1d63e10" providerId="ADAL" clId="{7C089C3E-F5BE-4CA8-B83E-9B6651B60167}" dt="2020-03-30T17:10:58.525" v="349" actId="1076"/>
          <ac:picMkLst>
            <pc:docMk/>
            <pc:sldMk cId="1633852438" sldId="653"/>
            <ac:picMk id="4" creationId="{F1FDE133-E687-4CA1-A3FA-93C82A9E386A}"/>
          </ac:picMkLst>
        </pc:picChg>
        <pc:picChg chg="add mod ord">
          <ac:chgData name="Renata Festa" userId="6f22df47-533b-4c2a-a3c1-7f9ad1d63e10" providerId="ADAL" clId="{7C089C3E-F5BE-4CA8-B83E-9B6651B60167}" dt="2020-03-30T17:08:41.688" v="322" actId="1076"/>
          <ac:picMkLst>
            <pc:docMk/>
            <pc:sldMk cId="1633852438" sldId="653"/>
            <ac:picMk id="5" creationId="{45E57432-D7B3-4B37-8CB9-48C9983A4BDD}"/>
          </ac:picMkLst>
        </pc:picChg>
        <pc:picChg chg="add mod">
          <ac:chgData name="Renata Festa" userId="6f22df47-533b-4c2a-a3c1-7f9ad1d63e10" providerId="ADAL" clId="{7C089C3E-F5BE-4CA8-B83E-9B6651B60167}" dt="2020-03-30T17:07:06.140" v="303" actId="1076"/>
          <ac:picMkLst>
            <pc:docMk/>
            <pc:sldMk cId="1633852438" sldId="653"/>
            <ac:picMk id="6" creationId="{7D342DE6-E046-4598-AA18-0A6211002ECB}"/>
          </ac:picMkLst>
        </pc:picChg>
        <pc:picChg chg="add mod">
          <ac:chgData name="Renata Festa" userId="6f22df47-533b-4c2a-a3c1-7f9ad1d63e10" providerId="ADAL" clId="{7C089C3E-F5BE-4CA8-B83E-9B6651B60167}" dt="2020-03-30T17:07:20.244" v="306" actId="1076"/>
          <ac:picMkLst>
            <pc:docMk/>
            <pc:sldMk cId="1633852438" sldId="653"/>
            <ac:picMk id="7" creationId="{6AFA6CF7-ABA0-4E76-83E6-CFB9B8D40D9E}"/>
          </ac:picMkLst>
        </pc:picChg>
        <pc:picChg chg="add mod">
          <ac:chgData name="Renata Festa" userId="6f22df47-533b-4c2a-a3c1-7f9ad1d63e10" providerId="ADAL" clId="{7C089C3E-F5BE-4CA8-B83E-9B6651B60167}" dt="2020-03-30T17:08:06.226" v="315" actId="1076"/>
          <ac:picMkLst>
            <pc:docMk/>
            <pc:sldMk cId="1633852438" sldId="653"/>
            <ac:picMk id="8" creationId="{2B520E66-7605-409E-B55D-CC838C4933CF}"/>
          </ac:picMkLst>
        </pc:picChg>
        <pc:picChg chg="add mod ord">
          <ac:chgData name="Renata Festa" userId="6f22df47-533b-4c2a-a3c1-7f9ad1d63e10" providerId="ADAL" clId="{7C089C3E-F5BE-4CA8-B83E-9B6651B60167}" dt="2020-03-30T17:09:27.830" v="335" actId="14100"/>
          <ac:picMkLst>
            <pc:docMk/>
            <pc:sldMk cId="1633852438" sldId="653"/>
            <ac:picMk id="9" creationId="{1070793D-1307-42C9-B6BE-6777076AC0CF}"/>
          </ac:picMkLst>
        </pc:picChg>
        <pc:picChg chg="add mod ord">
          <ac:chgData name="Renata Festa" userId="6f22df47-533b-4c2a-a3c1-7f9ad1d63e10" providerId="ADAL" clId="{7C089C3E-F5BE-4CA8-B83E-9B6651B60167}" dt="2020-03-30T17:09:57.130" v="343" actId="1076"/>
          <ac:picMkLst>
            <pc:docMk/>
            <pc:sldMk cId="1633852438" sldId="653"/>
            <ac:picMk id="10" creationId="{6EA4015F-EF88-4EB1-9A19-4813DB213ABE}"/>
          </ac:picMkLst>
        </pc:picChg>
      </pc:sldChg>
      <pc:sldChg chg="add del">
        <pc:chgData name="Renata Festa" userId="6f22df47-533b-4c2a-a3c1-7f9ad1d63e10" providerId="ADAL" clId="{7C089C3E-F5BE-4CA8-B83E-9B6651B60167}" dt="2020-03-30T17:00:51.711" v="243" actId="47"/>
        <pc:sldMkLst>
          <pc:docMk/>
          <pc:sldMk cId="3099019220" sldId="653"/>
        </pc:sldMkLst>
      </pc:sldChg>
      <pc:sldChg chg="add del">
        <pc:chgData name="Renata Festa" userId="6f22df47-533b-4c2a-a3c1-7f9ad1d63e10" providerId="ADAL" clId="{7C089C3E-F5BE-4CA8-B83E-9B6651B60167}" dt="2020-03-30T16:55:12.508" v="172" actId="47"/>
        <pc:sldMkLst>
          <pc:docMk/>
          <pc:sldMk cId="302929768" sldId="654"/>
        </pc:sldMkLst>
      </pc:sldChg>
      <pc:sldChg chg="addSp delSp modSp add mod modAnim">
        <pc:chgData name="Renata Festa" userId="6f22df47-533b-4c2a-a3c1-7f9ad1d63e10" providerId="ADAL" clId="{7C089C3E-F5BE-4CA8-B83E-9B6651B60167}" dt="2020-03-30T17:13:20.800" v="364"/>
        <pc:sldMkLst>
          <pc:docMk/>
          <pc:sldMk cId="2305532375" sldId="654"/>
        </pc:sldMkLst>
        <pc:spChg chg="mod">
          <ac:chgData name="Renata Festa" userId="6f22df47-533b-4c2a-a3c1-7f9ad1d63e10" providerId="ADAL" clId="{7C089C3E-F5BE-4CA8-B83E-9B6651B60167}" dt="2020-03-30T17:12:07.062" v="353"/>
          <ac:spMkLst>
            <pc:docMk/>
            <pc:sldMk cId="2305532375" sldId="654"/>
            <ac:spMk id="2" creationId="{7F724C39-08AB-425C-862A-8F64BC3621E6}"/>
          </ac:spMkLst>
        </pc:spChg>
        <pc:spChg chg="del mod">
          <ac:chgData name="Renata Festa" userId="6f22df47-533b-4c2a-a3c1-7f9ad1d63e10" providerId="ADAL" clId="{7C089C3E-F5BE-4CA8-B83E-9B6651B60167}" dt="2020-03-30T17:12:37.705" v="359" actId="12084"/>
          <ac:spMkLst>
            <pc:docMk/>
            <pc:sldMk cId="2305532375" sldId="654"/>
            <ac:spMk id="3" creationId="{BFEDD7F7-468A-403D-AFE1-C912CB6B4E07}"/>
          </ac:spMkLst>
        </pc:spChg>
        <pc:graphicFrameChg chg="add mod">
          <ac:chgData name="Renata Festa" userId="6f22df47-533b-4c2a-a3c1-7f9ad1d63e10" providerId="ADAL" clId="{7C089C3E-F5BE-4CA8-B83E-9B6651B60167}" dt="2020-03-30T17:13:02.810" v="363" actId="20577"/>
          <ac:graphicFrameMkLst>
            <pc:docMk/>
            <pc:sldMk cId="2305532375" sldId="654"/>
            <ac:graphicFrameMk id="5" creationId="{B5A47BF8-1D57-44BA-817D-6167064F63CB}"/>
          </ac:graphicFrameMkLst>
        </pc:graphicFrameChg>
        <pc:picChg chg="add mod">
          <ac:chgData name="Renata Festa" userId="6f22df47-533b-4c2a-a3c1-7f9ad1d63e10" providerId="ADAL" clId="{7C089C3E-F5BE-4CA8-B83E-9B6651B60167}" dt="2020-03-30T17:12:20.255" v="358" actId="1076"/>
          <ac:picMkLst>
            <pc:docMk/>
            <pc:sldMk cId="2305532375" sldId="654"/>
            <ac:picMk id="4" creationId="{8F36A920-234F-4268-94BC-7C979DEB334F}"/>
          </ac:picMkLst>
        </pc:picChg>
      </pc:sldChg>
      <pc:sldChg chg="addSp delSp modSp add mod modAnim">
        <pc:chgData name="Renata Festa" userId="6f22df47-533b-4c2a-a3c1-7f9ad1d63e10" providerId="ADAL" clId="{7C089C3E-F5BE-4CA8-B83E-9B6651B60167}" dt="2020-03-30T17:14:45.267" v="379"/>
        <pc:sldMkLst>
          <pc:docMk/>
          <pc:sldMk cId="1677999615" sldId="655"/>
        </pc:sldMkLst>
        <pc:spChg chg="mod">
          <ac:chgData name="Renata Festa" userId="6f22df47-533b-4c2a-a3c1-7f9ad1d63e10" providerId="ADAL" clId="{7C089C3E-F5BE-4CA8-B83E-9B6651B60167}" dt="2020-03-30T17:13:33.262" v="365"/>
          <ac:spMkLst>
            <pc:docMk/>
            <pc:sldMk cId="1677999615" sldId="655"/>
            <ac:spMk id="2" creationId="{7F724C39-08AB-425C-862A-8F64BC3621E6}"/>
          </ac:spMkLst>
        </pc:spChg>
        <pc:spChg chg="del mod">
          <ac:chgData name="Renata Festa" userId="6f22df47-533b-4c2a-a3c1-7f9ad1d63e10" providerId="ADAL" clId="{7C089C3E-F5BE-4CA8-B83E-9B6651B60167}" dt="2020-03-30T17:14:35.843" v="377" actId="12084"/>
          <ac:spMkLst>
            <pc:docMk/>
            <pc:sldMk cId="1677999615" sldId="655"/>
            <ac:spMk id="3" creationId="{BFEDD7F7-468A-403D-AFE1-C912CB6B4E07}"/>
          </ac:spMkLst>
        </pc:spChg>
        <pc:graphicFrameChg chg="add mod">
          <ac:chgData name="Renata Festa" userId="6f22df47-533b-4c2a-a3c1-7f9ad1d63e10" providerId="ADAL" clId="{7C089C3E-F5BE-4CA8-B83E-9B6651B60167}" dt="2020-03-30T17:14:35.843" v="377" actId="12084"/>
          <ac:graphicFrameMkLst>
            <pc:docMk/>
            <pc:sldMk cId="1677999615" sldId="655"/>
            <ac:graphicFrameMk id="5" creationId="{B52D751A-FBFA-49B5-B924-0759C2A5045C}"/>
          </ac:graphicFrameMkLst>
        </pc:graphicFrameChg>
        <pc:picChg chg="add mod">
          <ac:chgData name="Renata Festa" userId="6f22df47-533b-4c2a-a3c1-7f9ad1d63e10" providerId="ADAL" clId="{7C089C3E-F5BE-4CA8-B83E-9B6651B60167}" dt="2020-03-30T17:14:29.773" v="376" actId="1076"/>
          <ac:picMkLst>
            <pc:docMk/>
            <pc:sldMk cId="1677999615" sldId="655"/>
            <ac:picMk id="4" creationId="{30BF761B-C287-4772-8875-174878E1A441}"/>
          </ac:picMkLst>
        </pc:picChg>
      </pc:sldChg>
      <pc:sldChg chg="add del">
        <pc:chgData name="Renata Festa" userId="6f22df47-533b-4c2a-a3c1-7f9ad1d63e10" providerId="ADAL" clId="{7C089C3E-F5BE-4CA8-B83E-9B6651B60167}" dt="2020-03-30T16:55:12.508" v="172" actId="47"/>
        <pc:sldMkLst>
          <pc:docMk/>
          <pc:sldMk cId="1760501851" sldId="655"/>
        </pc:sldMkLst>
      </pc:sldChg>
      <pc:sldChg chg="addSp modSp add mod modAnim">
        <pc:chgData name="Renata Festa" userId="6f22df47-533b-4c2a-a3c1-7f9ad1d63e10" providerId="ADAL" clId="{7C089C3E-F5BE-4CA8-B83E-9B6651B60167}" dt="2020-03-30T17:15:24.318" v="386" actId="14100"/>
        <pc:sldMkLst>
          <pc:docMk/>
          <pc:sldMk cId="646150412" sldId="656"/>
        </pc:sldMkLst>
        <pc:spChg chg="mod">
          <ac:chgData name="Renata Festa" userId="6f22df47-533b-4c2a-a3c1-7f9ad1d63e10" providerId="ADAL" clId="{7C089C3E-F5BE-4CA8-B83E-9B6651B60167}" dt="2020-03-30T17:14:59.481" v="381" actId="20577"/>
          <ac:spMkLst>
            <pc:docMk/>
            <pc:sldMk cId="646150412" sldId="656"/>
            <ac:spMk id="2" creationId="{7F724C39-08AB-425C-862A-8F64BC3621E6}"/>
          </ac:spMkLst>
        </pc:spChg>
        <pc:graphicFrameChg chg="add mod">
          <ac:chgData name="Renata Festa" userId="6f22df47-533b-4c2a-a3c1-7f9ad1d63e10" providerId="ADAL" clId="{7C089C3E-F5BE-4CA8-B83E-9B6651B60167}" dt="2020-03-30T17:15:13.591" v="383" actId="1076"/>
          <ac:graphicFrameMkLst>
            <pc:docMk/>
            <pc:sldMk cId="646150412" sldId="656"/>
            <ac:graphicFrameMk id="4" creationId="{4922C437-E1DC-482C-8EBD-05F55BFB06F5}"/>
          </ac:graphicFrameMkLst>
        </pc:graphicFrameChg>
        <pc:graphicFrameChg chg="add mod">
          <ac:chgData name="Renata Festa" userId="6f22df47-533b-4c2a-a3c1-7f9ad1d63e10" providerId="ADAL" clId="{7C089C3E-F5BE-4CA8-B83E-9B6651B60167}" dt="2020-03-30T17:15:13.591" v="383" actId="1076"/>
          <ac:graphicFrameMkLst>
            <pc:docMk/>
            <pc:sldMk cId="646150412" sldId="656"/>
            <ac:graphicFrameMk id="5" creationId="{24726EEC-5DC4-4E31-9863-A7D8E168FACC}"/>
          </ac:graphicFrameMkLst>
        </pc:graphicFrameChg>
        <pc:graphicFrameChg chg="add mod">
          <ac:chgData name="Renata Festa" userId="6f22df47-533b-4c2a-a3c1-7f9ad1d63e10" providerId="ADAL" clId="{7C089C3E-F5BE-4CA8-B83E-9B6651B60167}" dt="2020-03-30T17:15:13.591" v="383" actId="1076"/>
          <ac:graphicFrameMkLst>
            <pc:docMk/>
            <pc:sldMk cId="646150412" sldId="656"/>
            <ac:graphicFrameMk id="6" creationId="{F62824EA-A2D7-47FE-8744-BFD4AB55015B}"/>
          </ac:graphicFrameMkLst>
        </pc:graphicFrameChg>
        <pc:graphicFrameChg chg="add mod">
          <ac:chgData name="Renata Festa" userId="6f22df47-533b-4c2a-a3c1-7f9ad1d63e10" providerId="ADAL" clId="{7C089C3E-F5BE-4CA8-B83E-9B6651B60167}" dt="2020-03-30T17:15:24.318" v="386" actId="14100"/>
          <ac:graphicFrameMkLst>
            <pc:docMk/>
            <pc:sldMk cId="646150412" sldId="656"/>
            <ac:graphicFrameMk id="9" creationId="{7E715B14-9A09-483D-81C8-CF015F65785C}"/>
          </ac:graphicFrameMkLst>
        </pc:graphicFrameChg>
        <pc:cxnChg chg="add mod">
          <ac:chgData name="Renata Festa" userId="6f22df47-533b-4c2a-a3c1-7f9ad1d63e10" providerId="ADAL" clId="{7C089C3E-F5BE-4CA8-B83E-9B6651B60167}" dt="2020-03-30T17:15:13.591" v="383" actId="1076"/>
          <ac:cxnSpMkLst>
            <pc:docMk/>
            <pc:sldMk cId="646150412" sldId="656"/>
            <ac:cxnSpMk id="7" creationId="{80C137D1-9397-43CE-9FB1-D6C97341876C}"/>
          </ac:cxnSpMkLst>
        </pc:cxnChg>
        <pc:cxnChg chg="add mod">
          <ac:chgData name="Renata Festa" userId="6f22df47-533b-4c2a-a3c1-7f9ad1d63e10" providerId="ADAL" clId="{7C089C3E-F5BE-4CA8-B83E-9B6651B60167}" dt="2020-03-30T17:15:13.591" v="383" actId="1076"/>
          <ac:cxnSpMkLst>
            <pc:docMk/>
            <pc:sldMk cId="646150412" sldId="656"/>
            <ac:cxnSpMk id="8" creationId="{7C0C5469-0D19-41B9-B89E-457234897CAE}"/>
          </ac:cxnSpMkLst>
        </pc:cxnChg>
      </pc:sldChg>
      <pc:sldChg chg="add del">
        <pc:chgData name="Renata Festa" userId="6f22df47-533b-4c2a-a3c1-7f9ad1d63e10" providerId="ADAL" clId="{7C089C3E-F5BE-4CA8-B83E-9B6651B60167}" dt="2020-03-30T16:55:12.508" v="172" actId="47"/>
        <pc:sldMkLst>
          <pc:docMk/>
          <pc:sldMk cId="3648192912" sldId="656"/>
        </pc:sldMkLst>
      </pc:sldChg>
      <pc:sldChg chg="addSp delSp modSp add mod modAnim">
        <pc:chgData name="Renata Festa" userId="6f22df47-533b-4c2a-a3c1-7f9ad1d63e10" providerId="ADAL" clId="{7C089C3E-F5BE-4CA8-B83E-9B6651B60167}" dt="2020-03-30T17:17:58.937" v="422"/>
        <pc:sldMkLst>
          <pc:docMk/>
          <pc:sldMk cId="2413882272" sldId="657"/>
        </pc:sldMkLst>
        <pc:spChg chg="mod">
          <ac:chgData name="Renata Festa" userId="6f22df47-533b-4c2a-a3c1-7f9ad1d63e10" providerId="ADAL" clId="{7C089C3E-F5BE-4CA8-B83E-9B6651B60167}" dt="2020-03-30T17:15:41.407" v="388" actId="20577"/>
          <ac:spMkLst>
            <pc:docMk/>
            <pc:sldMk cId="2413882272" sldId="657"/>
            <ac:spMk id="2" creationId="{7F724C39-08AB-425C-862A-8F64BC3621E6}"/>
          </ac:spMkLst>
        </pc:spChg>
        <pc:spChg chg="add del mod">
          <ac:chgData name="Renata Festa" userId="6f22df47-533b-4c2a-a3c1-7f9ad1d63e10" providerId="ADAL" clId="{7C089C3E-F5BE-4CA8-B83E-9B6651B60167}" dt="2020-03-30T17:16:55.009" v="408" actId="12084"/>
          <ac:spMkLst>
            <pc:docMk/>
            <pc:sldMk cId="2413882272" sldId="657"/>
            <ac:spMk id="3" creationId="{BFEDD7F7-468A-403D-AFE1-C912CB6B4E07}"/>
          </ac:spMkLst>
        </pc:spChg>
        <pc:graphicFrameChg chg="add del mod">
          <ac:chgData name="Renata Festa" userId="6f22df47-533b-4c2a-a3c1-7f9ad1d63e10" providerId="ADAL" clId="{7C089C3E-F5BE-4CA8-B83E-9B6651B60167}" dt="2020-03-30T17:17:05.983" v="414" actId="12090"/>
          <ac:graphicFrameMkLst>
            <pc:docMk/>
            <pc:sldMk cId="2413882272" sldId="657"/>
            <ac:graphicFrameMk id="10" creationId="{EC580770-C52E-45A0-A9C5-9F336FE787AF}"/>
          </ac:graphicFrameMkLst>
        </pc:graphicFrameChg>
        <pc:picChg chg="add mod">
          <ac:chgData name="Renata Festa" userId="6f22df47-533b-4c2a-a3c1-7f9ad1d63e10" providerId="ADAL" clId="{7C089C3E-F5BE-4CA8-B83E-9B6651B60167}" dt="2020-03-30T17:16:04.309" v="390" actId="1076"/>
          <ac:picMkLst>
            <pc:docMk/>
            <pc:sldMk cId="2413882272" sldId="657"/>
            <ac:picMk id="4" creationId="{33E200EB-2307-43C8-B991-BB329091C960}"/>
          </ac:picMkLst>
        </pc:picChg>
        <pc:picChg chg="add mod">
          <ac:chgData name="Renata Festa" userId="6f22df47-533b-4c2a-a3c1-7f9ad1d63e10" providerId="ADAL" clId="{7C089C3E-F5BE-4CA8-B83E-9B6651B60167}" dt="2020-03-30T17:16:04.309" v="390" actId="1076"/>
          <ac:picMkLst>
            <pc:docMk/>
            <pc:sldMk cId="2413882272" sldId="657"/>
            <ac:picMk id="5" creationId="{4E2FA29A-E36F-4106-A146-8FD967CEC2A7}"/>
          </ac:picMkLst>
        </pc:picChg>
        <pc:picChg chg="add mod">
          <ac:chgData name="Renata Festa" userId="6f22df47-533b-4c2a-a3c1-7f9ad1d63e10" providerId="ADAL" clId="{7C089C3E-F5BE-4CA8-B83E-9B6651B60167}" dt="2020-03-30T17:16:04.309" v="390" actId="1076"/>
          <ac:picMkLst>
            <pc:docMk/>
            <pc:sldMk cId="2413882272" sldId="657"/>
            <ac:picMk id="6" creationId="{3C0CCDDE-E49D-465F-ABA7-4048A3FAB84E}"/>
          </ac:picMkLst>
        </pc:picChg>
        <pc:picChg chg="add mod">
          <ac:chgData name="Renata Festa" userId="6f22df47-533b-4c2a-a3c1-7f9ad1d63e10" providerId="ADAL" clId="{7C089C3E-F5BE-4CA8-B83E-9B6651B60167}" dt="2020-03-30T17:16:04.309" v="390" actId="1076"/>
          <ac:picMkLst>
            <pc:docMk/>
            <pc:sldMk cId="2413882272" sldId="657"/>
            <ac:picMk id="7" creationId="{8862A85F-61FF-47C0-B055-9914A71DAE6F}"/>
          </ac:picMkLst>
        </pc:picChg>
        <pc:picChg chg="add mod">
          <ac:chgData name="Renata Festa" userId="6f22df47-533b-4c2a-a3c1-7f9ad1d63e10" providerId="ADAL" clId="{7C089C3E-F5BE-4CA8-B83E-9B6651B60167}" dt="2020-03-30T17:16:04.309" v="390" actId="1076"/>
          <ac:picMkLst>
            <pc:docMk/>
            <pc:sldMk cId="2413882272" sldId="657"/>
            <ac:picMk id="8" creationId="{48148FA6-CCDA-4151-A99F-A565117954AA}"/>
          </ac:picMkLst>
        </pc:picChg>
        <pc:picChg chg="add mod">
          <ac:chgData name="Renata Festa" userId="6f22df47-533b-4c2a-a3c1-7f9ad1d63e10" providerId="ADAL" clId="{7C089C3E-F5BE-4CA8-B83E-9B6651B60167}" dt="2020-03-30T17:16:04.309" v="390" actId="1076"/>
          <ac:picMkLst>
            <pc:docMk/>
            <pc:sldMk cId="2413882272" sldId="657"/>
            <ac:picMk id="9" creationId="{BFE061AB-88DC-4E13-970E-216701F0253A}"/>
          </ac:picMkLst>
        </pc:picChg>
      </pc:sldChg>
      <pc:sldChg chg="addSp delSp modSp add mod modAnim">
        <pc:chgData name="Renata Festa" userId="6f22df47-533b-4c2a-a3c1-7f9ad1d63e10" providerId="ADAL" clId="{7C089C3E-F5BE-4CA8-B83E-9B6651B60167}" dt="2020-03-30T17:20:26.236" v="455" actId="33524"/>
        <pc:sldMkLst>
          <pc:docMk/>
          <pc:sldMk cId="2461294574" sldId="658"/>
        </pc:sldMkLst>
        <pc:spChg chg="mod">
          <ac:chgData name="Renata Festa" userId="6f22df47-533b-4c2a-a3c1-7f9ad1d63e10" providerId="ADAL" clId="{7C089C3E-F5BE-4CA8-B83E-9B6651B60167}" dt="2020-03-30T17:20:00.145" v="448"/>
          <ac:spMkLst>
            <pc:docMk/>
            <pc:sldMk cId="2461294574" sldId="658"/>
            <ac:spMk id="2" creationId="{EB67312A-9819-43C6-8D84-D9136E6CFFCC}"/>
          </ac:spMkLst>
        </pc:spChg>
        <pc:spChg chg="del">
          <ac:chgData name="Renata Festa" userId="6f22df47-533b-4c2a-a3c1-7f9ad1d63e10" providerId="ADAL" clId="{7C089C3E-F5BE-4CA8-B83E-9B6651B60167}" dt="2020-03-30T17:20:03.053" v="449" actId="478"/>
          <ac:spMkLst>
            <pc:docMk/>
            <pc:sldMk cId="2461294574" sldId="658"/>
            <ac:spMk id="3" creationId="{F35E8CBB-5A7D-4DEF-BAF7-8DD5D042F9E0}"/>
          </ac:spMkLst>
        </pc:spChg>
        <pc:graphicFrameChg chg="add mod">
          <ac:chgData name="Renata Festa" userId="6f22df47-533b-4c2a-a3c1-7f9ad1d63e10" providerId="ADAL" clId="{7C089C3E-F5BE-4CA8-B83E-9B6651B60167}" dt="2020-03-30T17:20:26.236" v="455" actId="33524"/>
          <ac:graphicFrameMkLst>
            <pc:docMk/>
            <pc:sldMk cId="2461294574" sldId="658"/>
            <ac:graphicFrameMk id="5" creationId="{C7B83044-65FE-4554-B867-6306C484CFB7}"/>
          </ac:graphicFrameMkLst>
        </pc:graphicFrameChg>
      </pc:sldChg>
      <pc:sldChg chg="addSp delSp modSp add mod modClrScheme chgLayout">
        <pc:chgData name="Renata Festa" userId="6f22df47-533b-4c2a-a3c1-7f9ad1d63e10" providerId="ADAL" clId="{7C089C3E-F5BE-4CA8-B83E-9B6651B60167}" dt="2020-03-30T18:03:49.789" v="502" actId="12100"/>
        <pc:sldMkLst>
          <pc:docMk/>
          <pc:sldMk cId="2317963028" sldId="659"/>
        </pc:sldMkLst>
        <pc:spChg chg="mod">
          <ac:chgData name="Renata Festa" userId="6f22df47-533b-4c2a-a3c1-7f9ad1d63e10" providerId="ADAL" clId="{7C089C3E-F5BE-4CA8-B83E-9B6651B60167}" dt="2020-03-30T18:03:28.353" v="500" actId="26606"/>
          <ac:spMkLst>
            <pc:docMk/>
            <pc:sldMk cId="2317963028" sldId="659"/>
            <ac:spMk id="2" creationId="{3C34EE15-1521-4A1D-A515-EEE54DD625C5}"/>
          </ac:spMkLst>
        </pc:spChg>
        <pc:spChg chg="del mod">
          <ac:chgData name="Renata Festa" userId="6f22df47-533b-4c2a-a3c1-7f9ad1d63e10" providerId="ADAL" clId="{7C089C3E-F5BE-4CA8-B83E-9B6651B60167}" dt="2020-03-30T18:03:42.305" v="501" actId="12084"/>
          <ac:spMkLst>
            <pc:docMk/>
            <pc:sldMk cId="2317963028" sldId="659"/>
            <ac:spMk id="3" creationId="{79B219FF-6FC4-478C-A631-69B45BFFA9E6}"/>
          </ac:spMkLst>
        </pc:spChg>
        <pc:graphicFrameChg chg="add mod">
          <ac:chgData name="Renata Festa" userId="6f22df47-533b-4c2a-a3c1-7f9ad1d63e10" providerId="ADAL" clId="{7C089C3E-F5BE-4CA8-B83E-9B6651B60167}" dt="2020-03-30T18:03:49.789" v="502" actId="12100"/>
          <ac:graphicFrameMkLst>
            <pc:docMk/>
            <pc:sldMk cId="2317963028" sldId="659"/>
            <ac:graphicFrameMk id="4" creationId="{A7B3A0E2-F1A9-4ACB-9F34-FC7188B06049}"/>
          </ac:graphicFrameMkLst>
        </pc:graphicFrameChg>
      </pc:sldChg>
      <pc:sldChg chg="add del">
        <pc:chgData name="Renata Festa" userId="6f22df47-533b-4c2a-a3c1-7f9ad1d63e10" providerId="ADAL" clId="{7C089C3E-F5BE-4CA8-B83E-9B6651B60167}" dt="2020-03-30T17:20:43.671" v="456" actId="47"/>
        <pc:sldMkLst>
          <pc:docMk/>
          <pc:sldMk cId="3556358440" sldId="659"/>
        </pc:sldMkLst>
      </pc:sldChg>
      <pc:sldChg chg="addSp modSp add mod modAnim">
        <pc:chgData name="Renata Festa" userId="6f22df47-533b-4c2a-a3c1-7f9ad1d63e10" providerId="ADAL" clId="{7C089C3E-F5BE-4CA8-B83E-9B6651B60167}" dt="2020-03-30T18:07:34.334" v="541" actId="14100"/>
        <pc:sldMkLst>
          <pc:docMk/>
          <pc:sldMk cId="68233416" sldId="660"/>
        </pc:sldMkLst>
        <pc:spChg chg="mod">
          <ac:chgData name="Renata Festa" userId="6f22df47-533b-4c2a-a3c1-7f9ad1d63e10" providerId="ADAL" clId="{7C089C3E-F5BE-4CA8-B83E-9B6651B60167}" dt="2020-03-30T18:07:28.022" v="540" actId="14100"/>
          <ac:spMkLst>
            <pc:docMk/>
            <pc:sldMk cId="68233416" sldId="660"/>
            <ac:spMk id="2" creationId="{3C34EE15-1521-4A1D-A515-EEE54DD625C5}"/>
          </ac:spMkLst>
        </pc:spChg>
        <pc:spChg chg="add mod">
          <ac:chgData name="Renata Festa" userId="6f22df47-533b-4c2a-a3c1-7f9ad1d63e10" providerId="ADAL" clId="{7C089C3E-F5BE-4CA8-B83E-9B6651B60167}" dt="2020-03-30T18:07:34.334" v="541" actId="14100"/>
          <ac:spMkLst>
            <pc:docMk/>
            <pc:sldMk cId="68233416" sldId="660"/>
            <ac:spMk id="4" creationId="{1A7D3F9F-0FEC-432E-B7BC-11186CC34CCD}"/>
          </ac:spMkLst>
        </pc:spChg>
        <pc:spChg chg="add mod">
          <ac:chgData name="Renata Festa" userId="6f22df47-533b-4c2a-a3c1-7f9ad1d63e10" providerId="ADAL" clId="{7C089C3E-F5BE-4CA8-B83E-9B6651B60167}" dt="2020-03-30T18:07:28.022" v="540" actId="14100"/>
          <ac:spMkLst>
            <pc:docMk/>
            <pc:sldMk cId="68233416" sldId="660"/>
            <ac:spMk id="5" creationId="{94279AE6-875A-4D8E-81BF-5AC1C7493379}"/>
          </ac:spMkLst>
        </pc:spChg>
        <pc:spChg chg="add mod">
          <ac:chgData name="Renata Festa" userId="6f22df47-533b-4c2a-a3c1-7f9ad1d63e10" providerId="ADAL" clId="{7C089C3E-F5BE-4CA8-B83E-9B6651B60167}" dt="2020-03-30T18:07:28.022" v="540" actId="14100"/>
          <ac:spMkLst>
            <pc:docMk/>
            <pc:sldMk cId="68233416" sldId="660"/>
            <ac:spMk id="6" creationId="{CBEB717F-1044-4241-A6DC-E2553652336E}"/>
          </ac:spMkLst>
        </pc:spChg>
        <pc:spChg chg="add mod">
          <ac:chgData name="Renata Festa" userId="6f22df47-533b-4c2a-a3c1-7f9ad1d63e10" providerId="ADAL" clId="{7C089C3E-F5BE-4CA8-B83E-9B6651B60167}" dt="2020-03-30T18:07:28.022" v="540" actId="14100"/>
          <ac:spMkLst>
            <pc:docMk/>
            <pc:sldMk cId="68233416" sldId="660"/>
            <ac:spMk id="7" creationId="{B736C794-87A3-4F44-83F9-D363F3940488}"/>
          </ac:spMkLst>
        </pc:spChg>
        <pc:spChg chg="add mod">
          <ac:chgData name="Renata Festa" userId="6f22df47-533b-4c2a-a3c1-7f9ad1d63e10" providerId="ADAL" clId="{7C089C3E-F5BE-4CA8-B83E-9B6651B60167}" dt="2020-03-30T18:07:28.022" v="540" actId="14100"/>
          <ac:spMkLst>
            <pc:docMk/>
            <pc:sldMk cId="68233416" sldId="660"/>
            <ac:spMk id="8" creationId="{78FF0195-A11D-45F1-9CD5-02F0AE22D1F0}"/>
          </ac:spMkLst>
        </pc:spChg>
        <pc:spChg chg="add mod">
          <ac:chgData name="Renata Festa" userId="6f22df47-533b-4c2a-a3c1-7f9ad1d63e10" providerId="ADAL" clId="{7C089C3E-F5BE-4CA8-B83E-9B6651B60167}" dt="2020-03-30T18:07:28.022" v="540" actId="14100"/>
          <ac:spMkLst>
            <pc:docMk/>
            <pc:sldMk cId="68233416" sldId="660"/>
            <ac:spMk id="15" creationId="{F00C691A-083C-457C-A78E-4D64391EC60B}"/>
          </ac:spMkLst>
        </pc:spChg>
        <pc:spChg chg="add mod">
          <ac:chgData name="Renata Festa" userId="6f22df47-533b-4c2a-a3c1-7f9ad1d63e10" providerId="ADAL" clId="{7C089C3E-F5BE-4CA8-B83E-9B6651B60167}" dt="2020-03-30T18:07:28.022" v="540" actId="14100"/>
          <ac:spMkLst>
            <pc:docMk/>
            <pc:sldMk cId="68233416" sldId="660"/>
            <ac:spMk id="16" creationId="{DA4781DA-AE54-42D3-870C-0CF72EA03887}"/>
          </ac:spMkLst>
        </pc:spChg>
        <pc:spChg chg="mod">
          <ac:chgData name="Renata Festa" userId="6f22df47-533b-4c2a-a3c1-7f9ad1d63e10" providerId="ADAL" clId="{7C089C3E-F5BE-4CA8-B83E-9B6651B60167}" dt="2020-03-30T18:06:32.482" v="534" actId="255"/>
          <ac:spMkLst>
            <pc:docMk/>
            <pc:sldMk cId="68233416" sldId="660"/>
            <ac:spMk id="18" creationId="{5C1D0F9F-060C-49E2-B0F6-5F04A2A0EBF0}"/>
          </ac:spMkLst>
        </pc:spChg>
        <pc:grpChg chg="add mod">
          <ac:chgData name="Renata Festa" userId="6f22df47-533b-4c2a-a3c1-7f9ad1d63e10" providerId="ADAL" clId="{7C089C3E-F5BE-4CA8-B83E-9B6651B60167}" dt="2020-03-30T18:07:28.022" v="540" actId="14100"/>
          <ac:grpSpMkLst>
            <pc:docMk/>
            <pc:sldMk cId="68233416" sldId="660"/>
            <ac:grpSpMk id="9" creationId="{BFD5E544-0754-4D89-95BD-90750FC7D1FB}"/>
          </ac:grpSpMkLst>
        </pc:grpChg>
        <pc:grpChg chg="add mod">
          <ac:chgData name="Renata Festa" userId="6f22df47-533b-4c2a-a3c1-7f9ad1d63e10" providerId="ADAL" clId="{7C089C3E-F5BE-4CA8-B83E-9B6651B60167}" dt="2020-03-30T18:07:28.022" v="540" actId="14100"/>
          <ac:grpSpMkLst>
            <pc:docMk/>
            <pc:sldMk cId="68233416" sldId="660"/>
            <ac:grpSpMk id="12" creationId="{F6EDEE11-41AB-4717-AEFA-B6C82E469A68}"/>
          </ac:grpSpMkLst>
        </pc:grpChg>
        <pc:grpChg chg="add mod">
          <ac:chgData name="Renata Festa" userId="6f22df47-533b-4c2a-a3c1-7f9ad1d63e10" providerId="ADAL" clId="{7C089C3E-F5BE-4CA8-B83E-9B6651B60167}" dt="2020-03-30T18:07:28.022" v="540" actId="14100"/>
          <ac:grpSpMkLst>
            <pc:docMk/>
            <pc:sldMk cId="68233416" sldId="660"/>
            <ac:grpSpMk id="17" creationId="{E8BC6B51-3516-4080-B30B-3CA91CC06583}"/>
          </ac:grpSpMkLst>
        </pc:grpChg>
      </pc:sldChg>
      <pc:sldChg chg="add del">
        <pc:chgData name="Renata Festa" userId="6f22df47-533b-4c2a-a3c1-7f9ad1d63e10" providerId="ADAL" clId="{7C089C3E-F5BE-4CA8-B83E-9B6651B60167}" dt="2020-03-30T17:20:44.120" v="457" actId="47"/>
        <pc:sldMkLst>
          <pc:docMk/>
          <pc:sldMk cId="1007488366" sldId="660"/>
        </pc:sldMkLst>
      </pc:sldChg>
      <pc:sldChg chg="add del">
        <pc:chgData name="Renata Festa" userId="6f22df47-533b-4c2a-a3c1-7f9ad1d63e10" providerId="ADAL" clId="{7C089C3E-F5BE-4CA8-B83E-9B6651B60167}" dt="2020-03-30T17:20:44.607" v="458" actId="47"/>
        <pc:sldMkLst>
          <pc:docMk/>
          <pc:sldMk cId="3598055546" sldId="661"/>
        </pc:sldMkLst>
      </pc:sldChg>
      <pc:sldChg chg="addSp delSp modSp add del mod modAnim modNotesTx">
        <pc:chgData name="Renata Festa" userId="6f22df47-533b-4c2a-a3c1-7f9ad1d63e10" providerId="ADAL" clId="{7C089C3E-F5BE-4CA8-B83E-9B6651B60167}" dt="2020-03-30T18:10:13.876" v="565" actId="47"/>
        <pc:sldMkLst>
          <pc:docMk/>
          <pc:sldMk cId="4081859715" sldId="661"/>
        </pc:sldMkLst>
        <pc:spChg chg="mod">
          <ac:chgData name="Renata Festa" userId="6f22df47-533b-4c2a-a3c1-7f9ad1d63e10" providerId="ADAL" clId="{7C089C3E-F5BE-4CA8-B83E-9B6651B60167}" dt="2020-03-30T18:06:41.769" v="535"/>
          <ac:spMkLst>
            <pc:docMk/>
            <pc:sldMk cId="4081859715" sldId="661"/>
            <ac:spMk id="2" creationId="{3C34EE15-1521-4A1D-A515-EEE54DD625C5}"/>
          </ac:spMkLst>
        </pc:spChg>
        <pc:spChg chg="add del">
          <ac:chgData name="Renata Festa" userId="6f22df47-533b-4c2a-a3c1-7f9ad1d63e10" providerId="ADAL" clId="{7C089C3E-F5BE-4CA8-B83E-9B6651B60167}" dt="2020-03-30T18:08:14.490" v="545"/>
          <ac:spMkLst>
            <pc:docMk/>
            <pc:sldMk cId="4081859715" sldId="661"/>
            <ac:spMk id="5" creationId="{0098D526-FDB1-4797-A0D9-AE578D082564}"/>
          </ac:spMkLst>
        </pc:spChg>
        <pc:spChg chg="add del">
          <ac:chgData name="Renata Festa" userId="6f22df47-533b-4c2a-a3c1-7f9ad1d63e10" providerId="ADAL" clId="{7C089C3E-F5BE-4CA8-B83E-9B6651B60167}" dt="2020-03-30T18:08:14.490" v="545"/>
          <ac:spMkLst>
            <pc:docMk/>
            <pc:sldMk cId="4081859715" sldId="661"/>
            <ac:spMk id="6" creationId="{7C92869F-29C5-428A-923B-E66AECA42525}"/>
          </ac:spMkLst>
        </pc:spChg>
        <pc:spChg chg="add del">
          <ac:chgData name="Renata Festa" userId="6f22df47-533b-4c2a-a3c1-7f9ad1d63e10" providerId="ADAL" clId="{7C089C3E-F5BE-4CA8-B83E-9B6651B60167}" dt="2020-03-30T18:08:14.490" v="545"/>
          <ac:spMkLst>
            <pc:docMk/>
            <pc:sldMk cId="4081859715" sldId="661"/>
            <ac:spMk id="7" creationId="{E1DA483B-11FC-4083-BEEC-14D5022EAAA4}"/>
          </ac:spMkLst>
        </pc:spChg>
        <pc:spChg chg="add del">
          <ac:chgData name="Renata Festa" userId="6f22df47-533b-4c2a-a3c1-7f9ad1d63e10" providerId="ADAL" clId="{7C089C3E-F5BE-4CA8-B83E-9B6651B60167}" dt="2020-03-30T18:08:14.490" v="545"/>
          <ac:spMkLst>
            <pc:docMk/>
            <pc:sldMk cId="4081859715" sldId="661"/>
            <ac:spMk id="8" creationId="{DA370D1A-0B20-42D9-8BF3-11D769987066}"/>
          </ac:spMkLst>
        </pc:spChg>
        <pc:spChg chg="add del">
          <ac:chgData name="Renata Festa" userId="6f22df47-533b-4c2a-a3c1-7f9ad1d63e10" providerId="ADAL" clId="{7C089C3E-F5BE-4CA8-B83E-9B6651B60167}" dt="2020-03-30T18:08:14.490" v="545"/>
          <ac:spMkLst>
            <pc:docMk/>
            <pc:sldMk cId="4081859715" sldId="661"/>
            <ac:spMk id="9" creationId="{30C7914F-C4AF-48B7-A5F0-60171939D751}"/>
          </ac:spMkLst>
        </pc:spChg>
        <pc:spChg chg="add del">
          <ac:chgData name="Renata Festa" userId="6f22df47-533b-4c2a-a3c1-7f9ad1d63e10" providerId="ADAL" clId="{7C089C3E-F5BE-4CA8-B83E-9B6651B60167}" dt="2020-03-30T18:08:14.490" v="545"/>
          <ac:spMkLst>
            <pc:docMk/>
            <pc:sldMk cId="4081859715" sldId="661"/>
            <ac:spMk id="10" creationId="{021D3595-BCCF-4AB3-A1F0-E75C02E8D5F9}"/>
          </ac:spMkLst>
        </pc:spChg>
        <pc:spChg chg="add del">
          <ac:chgData name="Renata Festa" userId="6f22df47-533b-4c2a-a3c1-7f9ad1d63e10" providerId="ADAL" clId="{7C089C3E-F5BE-4CA8-B83E-9B6651B60167}" dt="2020-03-30T18:08:14.490" v="545"/>
          <ac:spMkLst>
            <pc:docMk/>
            <pc:sldMk cId="4081859715" sldId="661"/>
            <ac:spMk id="20" creationId="{3552ACC4-FD52-4037-A13B-9BFF4BA9DCEF}"/>
          </ac:spMkLst>
        </pc:spChg>
        <pc:spChg chg="add del">
          <ac:chgData name="Renata Festa" userId="6f22df47-533b-4c2a-a3c1-7f9ad1d63e10" providerId="ADAL" clId="{7C089C3E-F5BE-4CA8-B83E-9B6651B60167}" dt="2020-03-30T18:08:14.490" v="545"/>
          <ac:spMkLst>
            <pc:docMk/>
            <pc:sldMk cId="4081859715" sldId="661"/>
            <ac:spMk id="21" creationId="{890131CF-9E33-47C4-922D-EA491BD7066D}"/>
          </ac:spMkLst>
        </pc:spChg>
        <pc:spChg chg="add mod">
          <ac:chgData name="Renata Festa" userId="6f22df47-533b-4c2a-a3c1-7f9ad1d63e10" providerId="ADAL" clId="{7C089C3E-F5BE-4CA8-B83E-9B6651B60167}" dt="2020-03-30T18:08:31.487" v="550" actId="14100"/>
          <ac:spMkLst>
            <pc:docMk/>
            <pc:sldMk cId="4081859715" sldId="661"/>
            <ac:spMk id="22" creationId="{17F8E3CB-759A-4359-847D-05A44BD2A942}"/>
          </ac:spMkLst>
        </pc:spChg>
        <pc:spChg chg="add mod">
          <ac:chgData name="Renata Festa" userId="6f22df47-533b-4c2a-a3c1-7f9ad1d63e10" providerId="ADAL" clId="{7C089C3E-F5BE-4CA8-B83E-9B6651B60167}" dt="2020-03-30T18:08:42.569" v="552" actId="1076"/>
          <ac:spMkLst>
            <pc:docMk/>
            <pc:sldMk cId="4081859715" sldId="661"/>
            <ac:spMk id="23" creationId="{9A09E022-C7BA-43BE-A1C5-01AF9A078AF4}"/>
          </ac:spMkLst>
        </pc:spChg>
        <pc:spChg chg="add mod">
          <ac:chgData name="Renata Festa" userId="6f22df47-533b-4c2a-a3c1-7f9ad1d63e10" providerId="ADAL" clId="{7C089C3E-F5BE-4CA8-B83E-9B6651B60167}" dt="2020-03-30T18:08:31.487" v="550" actId="14100"/>
          <ac:spMkLst>
            <pc:docMk/>
            <pc:sldMk cId="4081859715" sldId="661"/>
            <ac:spMk id="24" creationId="{0EB7B76A-61E4-473C-AF91-6193DA21635B}"/>
          </ac:spMkLst>
        </pc:spChg>
        <pc:spChg chg="add mod">
          <ac:chgData name="Renata Festa" userId="6f22df47-533b-4c2a-a3c1-7f9ad1d63e10" providerId="ADAL" clId="{7C089C3E-F5BE-4CA8-B83E-9B6651B60167}" dt="2020-03-30T18:09:05.018" v="559" actId="1076"/>
          <ac:spMkLst>
            <pc:docMk/>
            <pc:sldMk cId="4081859715" sldId="661"/>
            <ac:spMk id="25" creationId="{D425199D-F9F6-4B62-A038-A48663C41B6B}"/>
          </ac:spMkLst>
        </pc:spChg>
        <pc:spChg chg="add mod">
          <ac:chgData name="Renata Festa" userId="6f22df47-533b-4c2a-a3c1-7f9ad1d63e10" providerId="ADAL" clId="{7C089C3E-F5BE-4CA8-B83E-9B6651B60167}" dt="2020-03-30T18:08:31.487" v="550" actId="14100"/>
          <ac:spMkLst>
            <pc:docMk/>
            <pc:sldMk cId="4081859715" sldId="661"/>
            <ac:spMk id="26" creationId="{D5C26EB0-0B9A-4943-8231-AE8604874A0D}"/>
          </ac:spMkLst>
        </pc:spChg>
        <pc:spChg chg="add mod">
          <ac:chgData name="Renata Festa" userId="6f22df47-533b-4c2a-a3c1-7f9ad1d63e10" providerId="ADAL" clId="{7C089C3E-F5BE-4CA8-B83E-9B6651B60167}" dt="2020-03-30T18:08:31.487" v="550" actId="14100"/>
          <ac:spMkLst>
            <pc:docMk/>
            <pc:sldMk cId="4081859715" sldId="661"/>
            <ac:spMk id="27" creationId="{76E2CF00-DA10-46FE-B591-928F2AF1A12D}"/>
          </ac:spMkLst>
        </pc:spChg>
        <pc:spChg chg="mod">
          <ac:chgData name="Renata Festa" userId="6f22df47-533b-4c2a-a3c1-7f9ad1d63e10" providerId="ADAL" clId="{7C089C3E-F5BE-4CA8-B83E-9B6651B60167}" dt="2020-03-30T18:08:47.808" v="555" actId="1076"/>
          <ac:spMkLst>
            <pc:docMk/>
            <pc:sldMk cId="4081859715" sldId="661"/>
            <ac:spMk id="32" creationId="{3B855DE7-5536-441A-A4D5-205FB0AB35B5}"/>
          </ac:spMkLst>
        </pc:spChg>
        <pc:spChg chg="add mod">
          <ac:chgData name="Renata Festa" userId="6f22df47-533b-4c2a-a3c1-7f9ad1d63e10" providerId="ADAL" clId="{7C089C3E-F5BE-4CA8-B83E-9B6651B60167}" dt="2020-03-30T18:08:31.487" v="550" actId="14100"/>
          <ac:spMkLst>
            <pc:docMk/>
            <pc:sldMk cId="4081859715" sldId="661"/>
            <ac:spMk id="37" creationId="{CA3579CE-E5E0-472F-9F6F-41DEBA600E63}"/>
          </ac:spMkLst>
        </pc:spChg>
        <pc:spChg chg="add mod">
          <ac:chgData name="Renata Festa" userId="6f22df47-533b-4c2a-a3c1-7f9ad1d63e10" providerId="ADAL" clId="{7C089C3E-F5BE-4CA8-B83E-9B6651B60167}" dt="2020-03-30T18:09:14.107" v="562" actId="14100"/>
          <ac:spMkLst>
            <pc:docMk/>
            <pc:sldMk cId="4081859715" sldId="661"/>
            <ac:spMk id="38" creationId="{F44DA845-B359-41C7-8AFE-220D77C5600F}"/>
          </ac:spMkLst>
        </pc:spChg>
        <pc:grpChg chg="add del">
          <ac:chgData name="Renata Festa" userId="6f22df47-533b-4c2a-a3c1-7f9ad1d63e10" providerId="ADAL" clId="{7C089C3E-F5BE-4CA8-B83E-9B6651B60167}" dt="2020-03-30T18:08:14.490" v="545"/>
          <ac:grpSpMkLst>
            <pc:docMk/>
            <pc:sldMk cId="4081859715" sldId="661"/>
            <ac:grpSpMk id="11" creationId="{7073E5DE-3EC7-47D1-9E90-6F622A20FAA5}"/>
          </ac:grpSpMkLst>
        </pc:grpChg>
        <pc:grpChg chg="add del">
          <ac:chgData name="Renata Festa" userId="6f22df47-533b-4c2a-a3c1-7f9ad1d63e10" providerId="ADAL" clId="{7C089C3E-F5BE-4CA8-B83E-9B6651B60167}" dt="2020-03-30T18:08:14.490" v="545"/>
          <ac:grpSpMkLst>
            <pc:docMk/>
            <pc:sldMk cId="4081859715" sldId="661"/>
            <ac:grpSpMk id="14" creationId="{0E6C1E54-3705-44A0-B73B-EF29E87D3E35}"/>
          </ac:grpSpMkLst>
        </pc:grpChg>
        <pc:grpChg chg="add del">
          <ac:chgData name="Renata Festa" userId="6f22df47-533b-4c2a-a3c1-7f9ad1d63e10" providerId="ADAL" clId="{7C089C3E-F5BE-4CA8-B83E-9B6651B60167}" dt="2020-03-30T18:08:14.490" v="545"/>
          <ac:grpSpMkLst>
            <pc:docMk/>
            <pc:sldMk cId="4081859715" sldId="661"/>
            <ac:grpSpMk id="17" creationId="{BC2C9762-51A7-4046-9693-394F2FE16037}"/>
          </ac:grpSpMkLst>
        </pc:grpChg>
        <pc:grpChg chg="add mod">
          <ac:chgData name="Renata Festa" userId="6f22df47-533b-4c2a-a3c1-7f9ad1d63e10" providerId="ADAL" clId="{7C089C3E-F5BE-4CA8-B83E-9B6651B60167}" dt="2020-03-30T18:08:31.487" v="550" actId="14100"/>
          <ac:grpSpMkLst>
            <pc:docMk/>
            <pc:sldMk cId="4081859715" sldId="661"/>
            <ac:grpSpMk id="28" creationId="{FC1F2999-F60C-4669-8715-1D068E6A7732}"/>
          </ac:grpSpMkLst>
        </pc:grpChg>
        <pc:grpChg chg="add mod">
          <ac:chgData name="Renata Festa" userId="6f22df47-533b-4c2a-a3c1-7f9ad1d63e10" providerId="ADAL" clId="{7C089C3E-F5BE-4CA8-B83E-9B6651B60167}" dt="2020-03-30T18:08:31.487" v="550" actId="14100"/>
          <ac:grpSpMkLst>
            <pc:docMk/>
            <pc:sldMk cId="4081859715" sldId="661"/>
            <ac:grpSpMk id="31" creationId="{046C308D-4E87-44A4-A978-2AEDF076FE1E}"/>
          </ac:grpSpMkLst>
        </pc:grpChg>
        <pc:grpChg chg="add mod">
          <ac:chgData name="Renata Festa" userId="6f22df47-533b-4c2a-a3c1-7f9ad1d63e10" providerId="ADAL" clId="{7C089C3E-F5BE-4CA8-B83E-9B6651B60167}" dt="2020-03-30T18:08:31.487" v="550" actId="14100"/>
          <ac:grpSpMkLst>
            <pc:docMk/>
            <pc:sldMk cId="4081859715" sldId="661"/>
            <ac:grpSpMk id="34" creationId="{9C9A6085-53D6-4BBE-928B-B5C06E1CF93E}"/>
          </ac:grpSpMkLst>
        </pc:grpChg>
        <pc:picChg chg="add del">
          <ac:chgData name="Renata Festa" userId="6f22df47-533b-4c2a-a3c1-7f9ad1d63e10" providerId="ADAL" clId="{7C089C3E-F5BE-4CA8-B83E-9B6651B60167}" dt="2020-03-30T18:07:42.714" v="543"/>
          <ac:picMkLst>
            <pc:docMk/>
            <pc:sldMk cId="4081859715" sldId="661"/>
            <ac:picMk id="4" creationId="{18EF2926-D1A3-43F0-AD42-565F0B1337EF}"/>
          </ac:picMkLst>
        </pc:picChg>
      </pc:sldChg>
      <pc:sldChg chg="addSp modSp add mod modAnim">
        <pc:chgData name="Renata Festa" userId="6f22df47-533b-4c2a-a3c1-7f9ad1d63e10" providerId="ADAL" clId="{7C089C3E-F5BE-4CA8-B83E-9B6651B60167}" dt="2020-03-30T18:23:18.745" v="700" actId="1035"/>
        <pc:sldMkLst>
          <pc:docMk/>
          <pc:sldMk cId="2259471535" sldId="662"/>
        </pc:sldMkLst>
        <pc:spChg chg="mod">
          <ac:chgData name="Renata Festa" userId="6f22df47-533b-4c2a-a3c1-7f9ad1d63e10" providerId="ADAL" clId="{7C089C3E-F5BE-4CA8-B83E-9B6651B60167}" dt="2020-03-30T18:18:16.828" v="654"/>
          <ac:spMkLst>
            <pc:docMk/>
            <pc:sldMk cId="2259471535" sldId="662"/>
            <ac:spMk id="2" creationId="{3C34EE15-1521-4A1D-A515-EEE54DD625C5}"/>
          </ac:spMkLst>
        </pc:spChg>
        <pc:graphicFrameChg chg="add mod">
          <ac:chgData name="Renata Festa" userId="6f22df47-533b-4c2a-a3c1-7f9ad1d63e10" providerId="ADAL" clId="{7C089C3E-F5BE-4CA8-B83E-9B6651B60167}" dt="2020-03-30T18:23:18.745" v="700" actId="1035"/>
          <ac:graphicFrameMkLst>
            <pc:docMk/>
            <pc:sldMk cId="2259471535" sldId="662"/>
            <ac:graphicFrameMk id="4" creationId="{4A1DE566-8E25-44B4-84D2-DF381F5CEC6B}"/>
          </ac:graphicFrameMkLst>
        </pc:graphicFrameChg>
      </pc:sldChg>
      <pc:sldChg chg="add del">
        <pc:chgData name="Renata Festa" userId="6f22df47-533b-4c2a-a3c1-7f9ad1d63e10" providerId="ADAL" clId="{7C089C3E-F5BE-4CA8-B83E-9B6651B60167}" dt="2020-03-30T17:20:45.335" v="459" actId="47"/>
        <pc:sldMkLst>
          <pc:docMk/>
          <pc:sldMk cId="4086584675" sldId="662"/>
        </pc:sldMkLst>
      </pc:sldChg>
      <pc:sldChg chg="addSp modSp add mod">
        <pc:chgData name="Renata Festa" userId="6f22df47-533b-4c2a-a3c1-7f9ad1d63e10" providerId="ADAL" clId="{7C089C3E-F5BE-4CA8-B83E-9B6651B60167}" dt="2020-03-30T18:23:47.776" v="705" actId="14100"/>
        <pc:sldMkLst>
          <pc:docMk/>
          <pc:sldMk cId="1152458030" sldId="663"/>
        </pc:sldMkLst>
        <pc:spChg chg="mod">
          <ac:chgData name="Renata Festa" userId="6f22df47-533b-4c2a-a3c1-7f9ad1d63e10" providerId="ADAL" clId="{7C089C3E-F5BE-4CA8-B83E-9B6651B60167}" dt="2020-03-30T18:23:33.978" v="701"/>
          <ac:spMkLst>
            <pc:docMk/>
            <pc:sldMk cId="1152458030" sldId="663"/>
            <ac:spMk id="2" creationId="{3C34EE15-1521-4A1D-A515-EEE54DD625C5}"/>
          </ac:spMkLst>
        </pc:spChg>
        <pc:graphicFrameChg chg="add mod modGraphic">
          <ac:chgData name="Renata Festa" userId="6f22df47-533b-4c2a-a3c1-7f9ad1d63e10" providerId="ADAL" clId="{7C089C3E-F5BE-4CA8-B83E-9B6651B60167}" dt="2020-03-30T18:23:47.776" v="705" actId="14100"/>
          <ac:graphicFrameMkLst>
            <pc:docMk/>
            <pc:sldMk cId="1152458030" sldId="663"/>
            <ac:graphicFrameMk id="4" creationId="{8A8460B2-DE01-4CBD-ADD6-1EC270DCE8E1}"/>
          </ac:graphicFrameMkLst>
        </pc:graphicFrameChg>
      </pc:sldChg>
      <pc:sldChg chg="addSp delSp modSp add modAnim">
        <pc:chgData name="Renata Festa" userId="6f22df47-533b-4c2a-a3c1-7f9ad1d63e10" providerId="ADAL" clId="{7C089C3E-F5BE-4CA8-B83E-9B6651B60167}" dt="2020-03-30T18:24:25.334" v="711"/>
        <pc:sldMkLst>
          <pc:docMk/>
          <pc:sldMk cId="1618443921" sldId="664"/>
        </pc:sldMkLst>
        <pc:spChg chg="mod">
          <ac:chgData name="Renata Festa" userId="6f22df47-533b-4c2a-a3c1-7f9ad1d63e10" providerId="ADAL" clId="{7C089C3E-F5BE-4CA8-B83E-9B6651B60167}" dt="2020-03-30T18:23:58.466" v="706"/>
          <ac:spMkLst>
            <pc:docMk/>
            <pc:sldMk cId="1618443921" sldId="664"/>
            <ac:spMk id="2" creationId="{3C34EE15-1521-4A1D-A515-EEE54DD625C5}"/>
          </ac:spMkLst>
        </pc:spChg>
        <pc:spChg chg="del mod">
          <ac:chgData name="Renata Festa" userId="6f22df47-533b-4c2a-a3c1-7f9ad1d63e10" providerId="ADAL" clId="{7C089C3E-F5BE-4CA8-B83E-9B6651B60167}" dt="2020-03-30T18:24:12.649" v="708" actId="12084"/>
          <ac:spMkLst>
            <pc:docMk/>
            <pc:sldMk cId="1618443921" sldId="664"/>
            <ac:spMk id="3" creationId="{79B219FF-6FC4-478C-A631-69B45BFFA9E6}"/>
          </ac:spMkLst>
        </pc:spChg>
        <pc:graphicFrameChg chg="add mod">
          <ac:chgData name="Renata Festa" userId="6f22df47-533b-4c2a-a3c1-7f9ad1d63e10" providerId="ADAL" clId="{7C089C3E-F5BE-4CA8-B83E-9B6651B60167}" dt="2020-03-30T18:24:12.649" v="708" actId="12084"/>
          <ac:graphicFrameMkLst>
            <pc:docMk/>
            <pc:sldMk cId="1618443921" sldId="664"/>
            <ac:graphicFrameMk id="4" creationId="{0A9431A1-8C9F-4A54-BFE0-9635E2C6D74A}"/>
          </ac:graphicFrameMkLst>
        </pc:graphicFrameChg>
      </pc:sldChg>
      <pc:sldChg chg="addSp modSp add mod modAnim modShow">
        <pc:chgData name="Renata Festa" userId="6f22df47-533b-4c2a-a3c1-7f9ad1d63e10" providerId="ADAL" clId="{7C089C3E-F5BE-4CA8-B83E-9B6651B60167}" dt="2020-03-30T18:26:03.323" v="732" actId="14100"/>
        <pc:sldMkLst>
          <pc:docMk/>
          <pc:sldMk cId="3931387040" sldId="665"/>
        </pc:sldMkLst>
        <pc:spChg chg="mod">
          <ac:chgData name="Renata Festa" userId="6f22df47-533b-4c2a-a3c1-7f9ad1d63e10" providerId="ADAL" clId="{7C089C3E-F5BE-4CA8-B83E-9B6651B60167}" dt="2020-03-30T18:25:32.966" v="724"/>
          <ac:spMkLst>
            <pc:docMk/>
            <pc:sldMk cId="3931387040" sldId="665"/>
            <ac:spMk id="2" creationId="{3C34EE15-1521-4A1D-A515-EEE54DD625C5}"/>
          </ac:spMkLst>
        </pc:spChg>
        <pc:graphicFrameChg chg="add mod">
          <ac:chgData name="Renata Festa" userId="6f22df47-533b-4c2a-a3c1-7f9ad1d63e10" providerId="ADAL" clId="{7C089C3E-F5BE-4CA8-B83E-9B6651B60167}" dt="2020-03-30T18:26:03.323" v="732" actId="14100"/>
          <ac:graphicFrameMkLst>
            <pc:docMk/>
            <pc:sldMk cId="3931387040" sldId="665"/>
            <ac:graphicFrameMk id="4" creationId="{962C8F20-6C81-4921-9B85-810A32DFCE12}"/>
          </ac:graphicFrameMkLst>
        </pc:graphicFrameChg>
      </pc:sldChg>
      <pc:sldChg chg="addSp delSp modSp add mod modAnim modShow">
        <pc:chgData name="Renata Festa" userId="6f22df47-533b-4c2a-a3c1-7f9ad1d63e10" providerId="ADAL" clId="{7C089C3E-F5BE-4CA8-B83E-9B6651B60167}" dt="2020-03-30T18:35:28.844" v="806" actId="729"/>
        <pc:sldMkLst>
          <pc:docMk/>
          <pc:sldMk cId="596325325" sldId="666"/>
        </pc:sldMkLst>
        <pc:spChg chg="del mod">
          <ac:chgData name="Renata Festa" userId="6f22df47-533b-4c2a-a3c1-7f9ad1d63e10" providerId="ADAL" clId="{7C089C3E-F5BE-4CA8-B83E-9B6651B60167}" dt="2020-03-30T18:33:27.775" v="792" actId="12084"/>
          <ac:spMkLst>
            <pc:docMk/>
            <pc:sldMk cId="596325325" sldId="666"/>
            <ac:spMk id="3" creationId="{79B219FF-6FC4-478C-A631-69B45BFFA9E6}"/>
          </ac:spMkLst>
        </pc:spChg>
        <pc:graphicFrameChg chg="add mod">
          <ac:chgData name="Renata Festa" userId="6f22df47-533b-4c2a-a3c1-7f9ad1d63e10" providerId="ADAL" clId="{7C089C3E-F5BE-4CA8-B83E-9B6651B60167}" dt="2020-03-30T18:33:27.775" v="792" actId="12084"/>
          <ac:graphicFrameMkLst>
            <pc:docMk/>
            <pc:sldMk cId="596325325" sldId="666"/>
            <ac:graphicFrameMk id="9" creationId="{F13E3570-616F-4279-82BD-9215C0BF58D2}"/>
          </ac:graphicFrameMkLst>
        </pc:graphicFrameChg>
        <pc:picChg chg="add mod">
          <ac:chgData name="Renata Festa" userId="6f22df47-533b-4c2a-a3c1-7f9ad1d63e10" providerId="ADAL" clId="{7C089C3E-F5BE-4CA8-B83E-9B6651B60167}" dt="2020-03-30T18:33:16.577" v="789" actId="1076"/>
          <ac:picMkLst>
            <pc:docMk/>
            <pc:sldMk cId="596325325" sldId="666"/>
            <ac:picMk id="4" creationId="{20CF13C2-F433-494E-B3FC-D1DE3DCDE4DE}"/>
          </ac:picMkLst>
        </pc:picChg>
        <pc:picChg chg="add mod">
          <ac:chgData name="Renata Festa" userId="6f22df47-533b-4c2a-a3c1-7f9ad1d63e10" providerId="ADAL" clId="{7C089C3E-F5BE-4CA8-B83E-9B6651B60167}" dt="2020-03-30T18:33:16.577" v="789" actId="1076"/>
          <ac:picMkLst>
            <pc:docMk/>
            <pc:sldMk cId="596325325" sldId="666"/>
            <ac:picMk id="5" creationId="{B135711E-5359-4826-8492-B488C6CCFE6E}"/>
          </ac:picMkLst>
        </pc:picChg>
        <pc:picChg chg="add mod">
          <ac:chgData name="Renata Festa" userId="6f22df47-533b-4c2a-a3c1-7f9ad1d63e10" providerId="ADAL" clId="{7C089C3E-F5BE-4CA8-B83E-9B6651B60167}" dt="2020-03-30T18:33:16.577" v="789" actId="1076"/>
          <ac:picMkLst>
            <pc:docMk/>
            <pc:sldMk cId="596325325" sldId="666"/>
            <ac:picMk id="6" creationId="{B5E5EE86-52FD-4A9B-90AB-1BE95FD657CE}"/>
          </ac:picMkLst>
        </pc:picChg>
        <pc:picChg chg="add mod">
          <ac:chgData name="Renata Festa" userId="6f22df47-533b-4c2a-a3c1-7f9ad1d63e10" providerId="ADAL" clId="{7C089C3E-F5BE-4CA8-B83E-9B6651B60167}" dt="2020-03-30T18:33:16.577" v="789" actId="1076"/>
          <ac:picMkLst>
            <pc:docMk/>
            <pc:sldMk cId="596325325" sldId="666"/>
            <ac:picMk id="7" creationId="{B37E24F0-7179-402E-9A96-52D634821F1A}"/>
          </ac:picMkLst>
        </pc:picChg>
        <pc:picChg chg="add mod">
          <ac:chgData name="Renata Festa" userId="6f22df47-533b-4c2a-a3c1-7f9ad1d63e10" providerId="ADAL" clId="{7C089C3E-F5BE-4CA8-B83E-9B6651B60167}" dt="2020-03-30T18:33:16.577" v="789" actId="1076"/>
          <ac:picMkLst>
            <pc:docMk/>
            <pc:sldMk cId="596325325" sldId="666"/>
            <ac:picMk id="8" creationId="{1C908811-EF22-4E2E-AB70-CA01B1223FFB}"/>
          </ac:picMkLst>
        </pc:picChg>
      </pc:sldChg>
      <pc:sldChg chg="addSp delSp modSp add mod delAnim modAnim">
        <pc:chgData name="Renata Festa" userId="6f22df47-533b-4c2a-a3c1-7f9ad1d63e10" providerId="ADAL" clId="{7C089C3E-F5BE-4CA8-B83E-9B6651B60167}" dt="2020-03-30T18:11:40.786" v="582"/>
        <pc:sldMkLst>
          <pc:docMk/>
          <pc:sldMk cId="3718624777" sldId="667"/>
        </pc:sldMkLst>
        <pc:spChg chg="del">
          <ac:chgData name="Renata Festa" userId="6f22df47-533b-4c2a-a3c1-7f9ad1d63e10" providerId="ADAL" clId="{7C089C3E-F5BE-4CA8-B83E-9B6651B60167}" dt="2020-03-30T18:11:15.297" v="581" actId="478"/>
          <ac:spMkLst>
            <pc:docMk/>
            <pc:sldMk cId="3718624777" sldId="667"/>
            <ac:spMk id="16" creationId="{DA4781DA-AE54-42D3-870C-0CF72EA03887}"/>
          </ac:spMkLst>
        </pc:spChg>
        <pc:spChg chg="add mod">
          <ac:chgData name="Renata Festa" userId="6f22df47-533b-4c2a-a3c1-7f9ad1d63e10" providerId="ADAL" clId="{7C089C3E-F5BE-4CA8-B83E-9B6651B60167}" dt="2020-03-30T18:11:09.668" v="579" actId="14100"/>
          <ac:spMkLst>
            <pc:docMk/>
            <pc:sldMk cId="3718624777" sldId="667"/>
            <ac:spMk id="20" creationId="{6D2BEB3E-C05C-4D6B-95DE-E3D8C50E0914}"/>
          </ac:spMkLst>
        </pc:spChg>
        <pc:spChg chg="add mod">
          <ac:chgData name="Renata Festa" userId="6f22df47-533b-4c2a-a3c1-7f9ad1d63e10" providerId="ADAL" clId="{7C089C3E-F5BE-4CA8-B83E-9B6651B60167}" dt="2020-03-30T18:11:13.189" v="580" actId="1076"/>
          <ac:spMkLst>
            <pc:docMk/>
            <pc:sldMk cId="3718624777" sldId="667"/>
            <ac:spMk id="21" creationId="{6AEED2AE-ADD6-443E-8429-394EE908D799}"/>
          </ac:spMkLst>
        </pc:spChg>
      </pc:sldChg>
      <pc:sldChg chg="add del">
        <pc:chgData name="Renata Festa" userId="6f22df47-533b-4c2a-a3c1-7f9ad1d63e10" providerId="ADAL" clId="{7C089C3E-F5BE-4CA8-B83E-9B6651B60167}" dt="2020-03-30T18:18:07.763" v="651" actId="47"/>
        <pc:sldMkLst>
          <pc:docMk/>
          <pc:sldMk cId="13681915" sldId="668"/>
        </pc:sldMkLst>
      </pc:sldChg>
      <pc:sldChg chg="add del">
        <pc:chgData name="Renata Festa" userId="6f22df47-533b-4c2a-a3c1-7f9ad1d63e10" providerId="ADAL" clId="{7C089C3E-F5BE-4CA8-B83E-9B6651B60167}" dt="2020-03-30T18:18:08.343" v="652" actId="47"/>
        <pc:sldMkLst>
          <pc:docMk/>
          <pc:sldMk cId="2810465632" sldId="669"/>
        </pc:sldMkLst>
      </pc:sldChg>
      <pc:sldChg chg="add del">
        <pc:chgData name="Renata Festa" userId="6f22df47-533b-4c2a-a3c1-7f9ad1d63e10" providerId="ADAL" clId="{7C089C3E-F5BE-4CA8-B83E-9B6651B60167}" dt="2020-03-30T18:18:08.879" v="653" actId="47"/>
        <pc:sldMkLst>
          <pc:docMk/>
          <pc:sldMk cId="3113080681" sldId="670"/>
        </pc:sldMkLst>
      </pc:sldChg>
      <pc:sldChg chg="addSp delSp modSp add mod delAnim modAnim">
        <pc:chgData name="Renata Festa" userId="6f22df47-533b-4c2a-a3c1-7f9ad1d63e10" providerId="ADAL" clId="{7C089C3E-F5BE-4CA8-B83E-9B6651B60167}" dt="2020-03-30T18:16:27.100" v="634"/>
        <pc:sldMkLst>
          <pc:docMk/>
          <pc:sldMk cId="824515022" sldId="671"/>
        </pc:sldMkLst>
        <pc:spChg chg="del">
          <ac:chgData name="Renata Festa" userId="6f22df47-533b-4c2a-a3c1-7f9ad1d63e10" providerId="ADAL" clId="{7C089C3E-F5BE-4CA8-B83E-9B6651B60167}" dt="2020-03-30T18:12:28.819" v="584" actId="478"/>
          <ac:spMkLst>
            <pc:docMk/>
            <pc:sldMk cId="824515022" sldId="671"/>
            <ac:spMk id="21" creationId="{6AEED2AE-ADD6-443E-8429-394EE908D799}"/>
          </ac:spMkLst>
        </pc:spChg>
        <pc:spChg chg="add mod">
          <ac:chgData name="Renata Festa" userId="6f22df47-533b-4c2a-a3c1-7f9ad1d63e10" providerId="ADAL" clId="{7C089C3E-F5BE-4CA8-B83E-9B6651B60167}" dt="2020-03-30T18:14:02.369" v="604" actId="14100"/>
          <ac:spMkLst>
            <pc:docMk/>
            <pc:sldMk cId="824515022" sldId="671"/>
            <ac:spMk id="22" creationId="{2814FEDC-11C8-4326-B4E1-0BCB73F6B5FA}"/>
          </ac:spMkLst>
        </pc:spChg>
        <pc:spChg chg="add mod">
          <ac:chgData name="Renata Festa" userId="6f22df47-533b-4c2a-a3c1-7f9ad1d63e10" providerId="ADAL" clId="{7C089C3E-F5BE-4CA8-B83E-9B6651B60167}" dt="2020-03-30T18:15:16.252" v="625" actId="14100"/>
          <ac:spMkLst>
            <pc:docMk/>
            <pc:sldMk cId="824515022" sldId="671"/>
            <ac:spMk id="23" creationId="{2FE02094-E36E-4593-9B79-8DBB573CDA56}"/>
          </ac:spMkLst>
        </pc:spChg>
        <pc:spChg chg="add mod">
          <ac:chgData name="Renata Festa" userId="6f22df47-533b-4c2a-a3c1-7f9ad1d63e10" providerId="ADAL" clId="{7C089C3E-F5BE-4CA8-B83E-9B6651B60167}" dt="2020-03-30T18:16:18.212" v="632" actId="14100"/>
          <ac:spMkLst>
            <pc:docMk/>
            <pc:sldMk cId="824515022" sldId="671"/>
            <ac:spMk id="24" creationId="{01D3FE7C-24B7-4D42-988C-333A18F4A281}"/>
          </ac:spMkLst>
        </pc:spChg>
        <pc:spChg chg="add mod">
          <ac:chgData name="Renata Festa" userId="6f22df47-533b-4c2a-a3c1-7f9ad1d63e10" providerId="ADAL" clId="{7C089C3E-F5BE-4CA8-B83E-9B6651B60167}" dt="2020-03-30T18:13:24.492" v="594" actId="1076"/>
          <ac:spMkLst>
            <pc:docMk/>
            <pc:sldMk cId="824515022" sldId="671"/>
            <ac:spMk id="25" creationId="{3F67D88A-7D3E-498C-965C-BAE03FC7522D}"/>
          </ac:spMkLst>
        </pc:spChg>
        <pc:spChg chg="add mod">
          <ac:chgData name="Renata Festa" userId="6f22df47-533b-4c2a-a3c1-7f9ad1d63e10" providerId="ADAL" clId="{7C089C3E-F5BE-4CA8-B83E-9B6651B60167}" dt="2020-03-30T18:13:39.693" v="599" actId="1076"/>
          <ac:spMkLst>
            <pc:docMk/>
            <pc:sldMk cId="824515022" sldId="671"/>
            <ac:spMk id="26" creationId="{253DCA92-4AE6-4A82-995B-9B3D3D409737}"/>
          </ac:spMkLst>
        </pc:spChg>
        <pc:spChg chg="add mod">
          <ac:chgData name="Renata Festa" userId="6f22df47-533b-4c2a-a3c1-7f9ad1d63e10" providerId="ADAL" clId="{7C089C3E-F5BE-4CA8-B83E-9B6651B60167}" dt="2020-03-30T18:15:46.081" v="628" actId="14100"/>
          <ac:spMkLst>
            <pc:docMk/>
            <pc:sldMk cId="824515022" sldId="671"/>
            <ac:spMk id="27" creationId="{683D8234-648A-47C9-A73E-0939E2C6F446}"/>
          </ac:spMkLst>
        </pc:spChg>
        <pc:spChg chg="add mod">
          <ac:chgData name="Renata Festa" userId="6f22df47-533b-4c2a-a3c1-7f9ad1d63e10" providerId="ADAL" clId="{7C089C3E-F5BE-4CA8-B83E-9B6651B60167}" dt="2020-03-30T18:13:33.238" v="597" actId="1076"/>
          <ac:spMkLst>
            <pc:docMk/>
            <pc:sldMk cId="824515022" sldId="671"/>
            <ac:spMk id="28" creationId="{291C0DC5-3134-4531-BEC1-1D55480908B8}"/>
          </ac:spMkLst>
        </pc:spChg>
        <pc:spChg chg="add del">
          <ac:chgData name="Renata Festa" userId="6f22df47-533b-4c2a-a3c1-7f9ad1d63e10" providerId="ADAL" clId="{7C089C3E-F5BE-4CA8-B83E-9B6651B60167}" dt="2020-03-30T18:16:27.100" v="634"/>
          <ac:spMkLst>
            <pc:docMk/>
            <pc:sldMk cId="824515022" sldId="671"/>
            <ac:spMk id="29" creationId="{9333DB70-53D9-44B2-B9FE-0E420BB66351}"/>
          </ac:spMkLst>
        </pc:spChg>
        <pc:spChg chg="add del">
          <ac:chgData name="Renata Festa" userId="6f22df47-533b-4c2a-a3c1-7f9ad1d63e10" providerId="ADAL" clId="{7C089C3E-F5BE-4CA8-B83E-9B6651B60167}" dt="2020-03-30T18:16:27.100" v="634"/>
          <ac:spMkLst>
            <pc:docMk/>
            <pc:sldMk cId="824515022" sldId="671"/>
            <ac:spMk id="30" creationId="{AE9EF032-C2B7-4F7F-B914-55C5953D3AF6}"/>
          </ac:spMkLst>
        </pc:spChg>
        <pc:spChg chg="add del">
          <ac:chgData name="Renata Festa" userId="6f22df47-533b-4c2a-a3c1-7f9ad1d63e10" providerId="ADAL" clId="{7C089C3E-F5BE-4CA8-B83E-9B6651B60167}" dt="2020-03-30T18:16:27.100" v="634"/>
          <ac:spMkLst>
            <pc:docMk/>
            <pc:sldMk cId="824515022" sldId="671"/>
            <ac:spMk id="31" creationId="{33E7B018-2068-4010-83EB-41AF97CAE722}"/>
          </ac:spMkLst>
        </pc:spChg>
        <pc:spChg chg="add del">
          <ac:chgData name="Renata Festa" userId="6f22df47-533b-4c2a-a3c1-7f9ad1d63e10" providerId="ADAL" clId="{7C089C3E-F5BE-4CA8-B83E-9B6651B60167}" dt="2020-03-30T18:16:27.100" v="634"/>
          <ac:spMkLst>
            <pc:docMk/>
            <pc:sldMk cId="824515022" sldId="671"/>
            <ac:spMk id="32" creationId="{033BFEF3-4875-4239-87F9-98F25A889484}"/>
          </ac:spMkLst>
        </pc:spChg>
        <pc:spChg chg="add del">
          <ac:chgData name="Renata Festa" userId="6f22df47-533b-4c2a-a3c1-7f9ad1d63e10" providerId="ADAL" clId="{7C089C3E-F5BE-4CA8-B83E-9B6651B60167}" dt="2020-03-30T18:16:27.100" v="634"/>
          <ac:spMkLst>
            <pc:docMk/>
            <pc:sldMk cId="824515022" sldId="671"/>
            <ac:spMk id="33" creationId="{D448391C-C9B2-4E78-A5B0-18826837DEF4}"/>
          </ac:spMkLst>
        </pc:spChg>
        <pc:spChg chg="add del">
          <ac:chgData name="Renata Festa" userId="6f22df47-533b-4c2a-a3c1-7f9ad1d63e10" providerId="ADAL" clId="{7C089C3E-F5BE-4CA8-B83E-9B6651B60167}" dt="2020-03-30T18:16:27.100" v="634"/>
          <ac:spMkLst>
            <pc:docMk/>
            <pc:sldMk cId="824515022" sldId="671"/>
            <ac:spMk id="34" creationId="{D0BFA6E9-2E92-4013-A29E-829B1529F1D4}"/>
          </ac:spMkLst>
        </pc:spChg>
        <pc:spChg chg="add del">
          <ac:chgData name="Renata Festa" userId="6f22df47-533b-4c2a-a3c1-7f9ad1d63e10" providerId="ADAL" clId="{7C089C3E-F5BE-4CA8-B83E-9B6651B60167}" dt="2020-03-30T18:16:27.100" v="634"/>
          <ac:spMkLst>
            <pc:docMk/>
            <pc:sldMk cId="824515022" sldId="671"/>
            <ac:spMk id="35" creationId="{B1316929-CB30-4A0C-9B8F-501C8366F928}"/>
          </ac:spMkLst>
        </pc:spChg>
      </pc:sldChg>
      <pc:sldChg chg="addSp delSp modSp add mod delAnim modAnim modNotesTx">
        <pc:chgData name="Renata Festa" userId="6f22df47-533b-4c2a-a3c1-7f9ad1d63e10" providerId="ADAL" clId="{7C089C3E-F5BE-4CA8-B83E-9B6651B60167}" dt="2020-03-30T18:17:55.056" v="650"/>
        <pc:sldMkLst>
          <pc:docMk/>
          <pc:sldMk cId="3396917944" sldId="672"/>
        </pc:sldMkLst>
        <pc:spChg chg="del">
          <ac:chgData name="Renata Festa" userId="6f22df47-533b-4c2a-a3c1-7f9ad1d63e10" providerId="ADAL" clId="{7C089C3E-F5BE-4CA8-B83E-9B6651B60167}" dt="2020-03-30T18:16:43.241" v="637" actId="478"/>
          <ac:spMkLst>
            <pc:docMk/>
            <pc:sldMk cId="3396917944" sldId="672"/>
            <ac:spMk id="23" creationId="{2FE02094-E36E-4593-9B79-8DBB573CDA56}"/>
          </ac:spMkLst>
        </pc:spChg>
        <pc:spChg chg="del">
          <ac:chgData name="Renata Festa" userId="6f22df47-533b-4c2a-a3c1-7f9ad1d63e10" providerId="ADAL" clId="{7C089C3E-F5BE-4CA8-B83E-9B6651B60167}" dt="2020-03-30T18:16:45.727" v="638" actId="478"/>
          <ac:spMkLst>
            <pc:docMk/>
            <pc:sldMk cId="3396917944" sldId="672"/>
            <ac:spMk id="24" creationId="{01D3FE7C-24B7-4D42-988C-333A18F4A281}"/>
          </ac:spMkLst>
        </pc:spChg>
        <pc:spChg chg="add del">
          <ac:chgData name="Renata Festa" userId="6f22df47-533b-4c2a-a3c1-7f9ad1d63e10" providerId="ADAL" clId="{7C089C3E-F5BE-4CA8-B83E-9B6651B60167}" dt="2020-03-30T18:16:53.056" v="640"/>
          <ac:spMkLst>
            <pc:docMk/>
            <pc:sldMk cId="3396917944" sldId="672"/>
            <ac:spMk id="29" creationId="{EE41444C-7382-44BE-B337-AA59F35AF5E4}"/>
          </ac:spMkLst>
        </pc:spChg>
        <pc:spChg chg="add mod">
          <ac:chgData name="Renata Festa" userId="6f22df47-533b-4c2a-a3c1-7f9ad1d63e10" providerId="ADAL" clId="{7C089C3E-F5BE-4CA8-B83E-9B6651B60167}" dt="2020-03-30T18:17:28.812" v="647" actId="14100"/>
          <ac:spMkLst>
            <pc:docMk/>
            <pc:sldMk cId="3396917944" sldId="672"/>
            <ac:spMk id="30" creationId="{76FFB9D5-D8E7-4CD5-95F2-956FD9F67827}"/>
          </ac:spMkLst>
        </pc:spChg>
        <pc:spChg chg="add mod">
          <ac:chgData name="Renata Festa" userId="6f22df47-533b-4c2a-a3c1-7f9ad1d63e10" providerId="ADAL" clId="{7C089C3E-F5BE-4CA8-B83E-9B6651B60167}" dt="2020-03-30T18:17:22.596" v="645" actId="1076"/>
          <ac:spMkLst>
            <pc:docMk/>
            <pc:sldMk cId="3396917944" sldId="672"/>
            <ac:spMk id="31" creationId="{4221DB05-4C0D-48A7-90CB-5824AF8CA6FA}"/>
          </ac:spMkLst>
        </pc:spChg>
      </pc:sldChg>
      <pc:sldChg chg="addSp delSp modSp add mod modClrScheme modShow chgLayout">
        <pc:chgData name="Renata Festa" userId="6f22df47-533b-4c2a-a3c1-7f9ad1d63e10" providerId="ADAL" clId="{7C089C3E-F5BE-4CA8-B83E-9B6651B60167}" dt="2020-03-30T18:27:25.700" v="748" actId="14100"/>
        <pc:sldMkLst>
          <pc:docMk/>
          <pc:sldMk cId="4093399091" sldId="673"/>
        </pc:sldMkLst>
        <pc:spChg chg="mod ord">
          <ac:chgData name="Renata Festa" userId="6f22df47-533b-4c2a-a3c1-7f9ad1d63e10" providerId="ADAL" clId="{7C089C3E-F5BE-4CA8-B83E-9B6651B60167}" dt="2020-03-30T18:26:52.276" v="739" actId="6264"/>
          <ac:spMkLst>
            <pc:docMk/>
            <pc:sldMk cId="4093399091" sldId="673"/>
            <ac:spMk id="2" creationId="{3C34EE15-1521-4A1D-A515-EEE54DD625C5}"/>
          </ac:spMkLst>
        </pc:spChg>
        <pc:spChg chg="mod ord">
          <ac:chgData name="Renata Festa" userId="6f22df47-533b-4c2a-a3c1-7f9ad1d63e10" providerId="ADAL" clId="{7C089C3E-F5BE-4CA8-B83E-9B6651B60167}" dt="2020-03-30T18:27:16.804" v="746" actId="14100"/>
          <ac:spMkLst>
            <pc:docMk/>
            <pc:sldMk cId="4093399091" sldId="673"/>
            <ac:spMk id="3" creationId="{79B219FF-6FC4-478C-A631-69B45BFFA9E6}"/>
          </ac:spMkLst>
        </pc:spChg>
        <pc:spChg chg="add del mod">
          <ac:chgData name="Renata Festa" userId="6f22df47-533b-4c2a-a3c1-7f9ad1d63e10" providerId="ADAL" clId="{7C089C3E-F5BE-4CA8-B83E-9B6651B60167}" dt="2020-03-30T18:26:52.276" v="739" actId="6264"/>
          <ac:spMkLst>
            <pc:docMk/>
            <pc:sldMk cId="4093399091" sldId="673"/>
            <ac:spMk id="5" creationId="{248B100E-6441-4B6B-A47F-14D1AB0855DA}"/>
          </ac:spMkLst>
        </pc:spChg>
        <pc:spChg chg="add del mod">
          <ac:chgData name="Renata Festa" userId="6f22df47-533b-4c2a-a3c1-7f9ad1d63e10" providerId="ADAL" clId="{7C089C3E-F5BE-4CA8-B83E-9B6651B60167}" dt="2020-03-30T18:26:52.276" v="739" actId="6264"/>
          <ac:spMkLst>
            <pc:docMk/>
            <pc:sldMk cId="4093399091" sldId="673"/>
            <ac:spMk id="6" creationId="{34652927-459D-4FED-BB44-B4CB170C3FFC}"/>
          </ac:spMkLst>
        </pc:spChg>
        <pc:spChg chg="add del mod ord">
          <ac:chgData name="Renata Festa" userId="6f22df47-533b-4c2a-a3c1-7f9ad1d63e10" providerId="ADAL" clId="{7C089C3E-F5BE-4CA8-B83E-9B6651B60167}" dt="2020-03-30T18:26:52.276" v="739" actId="6264"/>
          <ac:spMkLst>
            <pc:docMk/>
            <pc:sldMk cId="4093399091" sldId="673"/>
            <ac:spMk id="7" creationId="{08B04E85-682E-4A40-8BC8-E145BA2F857C}"/>
          </ac:spMkLst>
        </pc:spChg>
        <pc:spChg chg="add del mod">
          <ac:chgData name="Renata Festa" userId="6f22df47-533b-4c2a-a3c1-7f9ad1d63e10" providerId="ADAL" clId="{7C089C3E-F5BE-4CA8-B83E-9B6651B60167}" dt="2020-03-30T18:26:58.868" v="743"/>
          <ac:spMkLst>
            <pc:docMk/>
            <pc:sldMk cId="4093399091" sldId="673"/>
            <ac:spMk id="8" creationId="{FBEBD265-5E3E-405E-AD32-1074D0F5DAC5}"/>
          </ac:spMkLst>
        </pc:spChg>
        <pc:picChg chg="add mod">
          <ac:chgData name="Renata Festa" userId="6f22df47-533b-4c2a-a3c1-7f9ad1d63e10" providerId="ADAL" clId="{7C089C3E-F5BE-4CA8-B83E-9B6651B60167}" dt="2020-03-30T18:27:25.700" v="748" actId="14100"/>
          <ac:picMkLst>
            <pc:docMk/>
            <pc:sldMk cId="4093399091" sldId="673"/>
            <ac:picMk id="4" creationId="{F4FC3681-9741-4150-8014-FEA2C2C09544}"/>
          </ac:picMkLst>
        </pc:picChg>
      </pc:sldChg>
      <pc:sldChg chg="addSp delSp modSp add mod modShow">
        <pc:chgData name="Renata Festa" userId="6f22df47-533b-4c2a-a3c1-7f9ad1d63e10" providerId="ADAL" clId="{7C089C3E-F5BE-4CA8-B83E-9B6651B60167}" dt="2020-03-30T18:31:14.312" v="763" actId="12084"/>
        <pc:sldMkLst>
          <pc:docMk/>
          <pc:sldMk cId="4213411994" sldId="674"/>
        </pc:sldMkLst>
        <pc:spChg chg="mod">
          <ac:chgData name="Renata Festa" userId="6f22df47-533b-4c2a-a3c1-7f9ad1d63e10" providerId="ADAL" clId="{7C089C3E-F5BE-4CA8-B83E-9B6651B60167}" dt="2020-03-30T18:28:06.166" v="753"/>
          <ac:spMkLst>
            <pc:docMk/>
            <pc:sldMk cId="4213411994" sldId="674"/>
            <ac:spMk id="2" creationId="{3C34EE15-1521-4A1D-A515-EEE54DD625C5}"/>
          </ac:spMkLst>
        </pc:spChg>
        <pc:spChg chg="add del mod">
          <ac:chgData name="Renata Festa" userId="6f22df47-533b-4c2a-a3c1-7f9ad1d63e10" providerId="ADAL" clId="{7C089C3E-F5BE-4CA8-B83E-9B6651B60167}" dt="2020-03-30T18:31:14.312" v="763" actId="12084"/>
          <ac:spMkLst>
            <pc:docMk/>
            <pc:sldMk cId="4213411994" sldId="674"/>
            <ac:spMk id="3" creationId="{79B219FF-6FC4-478C-A631-69B45BFFA9E6}"/>
          </ac:spMkLst>
        </pc:spChg>
        <pc:graphicFrameChg chg="add del mod">
          <ac:chgData name="Renata Festa" userId="6f22df47-533b-4c2a-a3c1-7f9ad1d63e10" providerId="ADAL" clId="{7C089C3E-F5BE-4CA8-B83E-9B6651B60167}" dt="2020-03-30T18:31:14.312" v="763" actId="12084"/>
          <ac:graphicFrameMkLst>
            <pc:docMk/>
            <pc:sldMk cId="4213411994" sldId="674"/>
            <ac:graphicFrameMk id="5" creationId="{70B4527F-BC1D-4538-9124-B6DC6A47B38C}"/>
          </ac:graphicFrameMkLst>
        </pc:graphicFrameChg>
        <pc:picChg chg="add mod">
          <ac:chgData name="Renata Festa" userId="6f22df47-533b-4c2a-a3c1-7f9ad1d63e10" providerId="ADAL" clId="{7C089C3E-F5BE-4CA8-B83E-9B6651B60167}" dt="2020-03-30T18:28:28.076" v="760" actId="1076"/>
          <ac:picMkLst>
            <pc:docMk/>
            <pc:sldMk cId="4213411994" sldId="674"/>
            <ac:picMk id="4" creationId="{41099989-CBCF-4E44-97C9-2EB6D6ADA632}"/>
          </ac:picMkLst>
        </pc:picChg>
      </pc:sldChg>
      <pc:sldChg chg="addSp modSp add mod modAnim modShow">
        <pc:chgData name="Renata Festa" userId="6f22df47-533b-4c2a-a3c1-7f9ad1d63e10" providerId="ADAL" clId="{7C089C3E-F5BE-4CA8-B83E-9B6651B60167}" dt="2020-03-30T18:31:59.526" v="770" actId="1076"/>
        <pc:sldMkLst>
          <pc:docMk/>
          <pc:sldMk cId="2163137392" sldId="675"/>
        </pc:sldMkLst>
        <pc:spChg chg="mod">
          <ac:chgData name="Renata Festa" userId="6f22df47-533b-4c2a-a3c1-7f9ad1d63e10" providerId="ADAL" clId="{7C089C3E-F5BE-4CA8-B83E-9B6651B60167}" dt="2020-03-30T18:31:31.899" v="764"/>
          <ac:spMkLst>
            <pc:docMk/>
            <pc:sldMk cId="2163137392" sldId="675"/>
            <ac:spMk id="2" creationId="{3C34EE15-1521-4A1D-A515-EEE54DD625C5}"/>
          </ac:spMkLst>
        </pc:spChg>
        <pc:graphicFrameChg chg="add mod">
          <ac:chgData name="Renata Festa" userId="6f22df47-533b-4c2a-a3c1-7f9ad1d63e10" providerId="ADAL" clId="{7C089C3E-F5BE-4CA8-B83E-9B6651B60167}" dt="2020-03-30T18:31:59.526" v="770" actId="1076"/>
          <ac:graphicFrameMkLst>
            <pc:docMk/>
            <pc:sldMk cId="2163137392" sldId="675"/>
            <ac:graphicFrameMk id="4" creationId="{78C7C9F5-B052-432D-8272-895A1D93C49A}"/>
          </ac:graphicFrameMkLst>
        </pc:graphicFrameChg>
      </pc:sldChg>
      <pc:sldChg chg="addSp modSp add mod ord modAnim modShow">
        <pc:chgData name="Renata Festa" userId="6f22df47-533b-4c2a-a3c1-7f9ad1d63e10" providerId="ADAL" clId="{7C089C3E-F5BE-4CA8-B83E-9B6651B60167}" dt="2020-03-30T18:25:30.722" v="723"/>
        <pc:sldMkLst>
          <pc:docMk/>
          <pc:sldMk cId="3340101420" sldId="676"/>
        </pc:sldMkLst>
        <pc:spChg chg="mod">
          <ac:chgData name="Renata Festa" userId="6f22df47-533b-4c2a-a3c1-7f9ad1d63e10" providerId="ADAL" clId="{7C089C3E-F5BE-4CA8-B83E-9B6651B60167}" dt="2020-03-30T18:24:44.440" v="717"/>
          <ac:spMkLst>
            <pc:docMk/>
            <pc:sldMk cId="3340101420" sldId="676"/>
            <ac:spMk id="2" creationId="{3C34EE15-1521-4A1D-A515-EEE54DD625C5}"/>
          </ac:spMkLst>
        </pc:spChg>
        <pc:graphicFrameChg chg="add mod">
          <ac:chgData name="Renata Festa" userId="6f22df47-533b-4c2a-a3c1-7f9ad1d63e10" providerId="ADAL" clId="{7C089C3E-F5BE-4CA8-B83E-9B6651B60167}" dt="2020-03-30T18:25:02.525" v="721" actId="14100"/>
          <ac:graphicFrameMkLst>
            <pc:docMk/>
            <pc:sldMk cId="3340101420" sldId="676"/>
            <ac:graphicFrameMk id="4" creationId="{33D6C512-F71A-49D9-8388-4A4DDA44686E}"/>
          </ac:graphicFrameMkLst>
        </pc:graphicFrameChg>
      </pc:sldChg>
      <pc:sldChg chg="modSp add mod modShow">
        <pc:chgData name="Renata Festa" userId="6f22df47-533b-4c2a-a3c1-7f9ad1d63e10" providerId="ADAL" clId="{7C089C3E-F5BE-4CA8-B83E-9B6651B60167}" dt="2020-03-30T18:32:34.707" v="777" actId="729"/>
        <pc:sldMkLst>
          <pc:docMk/>
          <pc:sldMk cId="2723041739" sldId="677"/>
        </pc:sldMkLst>
        <pc:spChg chg="mod">
          <ac:chgData name="Renata Festa" userId="6f22df47-533b-4c2a-a3c1-7f9ad1d63e10" providerId="ADAL" clId="{7C089C3E-F5BE-4CA8-B83E-9B6651B60167}" dt="2020-03-30T18:32:22.540" v="775" actId="20577"/>
          <ac:spMkLst>
            <pc:docMk/>
            <pc:sldMk cId="2723041739" sldId="677"/>
            <ac:spMk id="3" creationId="{8F64A22E-2B43-4FC6-AF08-0CDB3F9E9269}"/>
          </ac:spMkLst>
        </pc:spChg>
        <pc:spChg chg="mod">
          <ac:chgData name="Renata Festa" userId="6f22df47-533b-4c2a-a3c1-7f9ad1d63e10" providerId="ADAL" clId="{7C089C3E-F5BE-4CA8-B83E-9B6651B60167}" dt="2020-03-30T18:32:26.673" v="776"/>
          <ac:spMkLst>
            <pc:docMk/>
            <pc:sldMk cId="2723041739" sldId="677"/>
            <ac:spMk id="6" creationId="{637E159C-9ACF-48AE-927A-D5FB13695C7F}"/>
          </ac:spMkLst>
        </pc:spChg>
      </pc:sldChg>
      <pc:sldChg chg="addSp delSp modSp add mod modAnim modShow">
        <pc:chgData name="Renata Festa" userId="6f22df47-533b-4c2a-a3c1-7f9ad1d63e10" providerId="ADAL" clId="{7C089C3E-F5BE-4CA8-B83E-9B6651B60167}" dt="2020-03-30T18:37:31.449" v="825" actId="729"/>
        <pc:sldMkLst>
          <pc:docMk/>
          <pc:sldMk cId="2682501108" sldId="678"/>
        </pc:sldMkLst>
        <pc:spChg chg="mod">
          <ac:chgData name="Renata Festa" userId="6f22df47-533b-4c2a-a3c1-7f9ad1d63e10" providerId="ADAL" clId="{7C089C3E-F5BE-4CA8-B83E-9B6651B60167}" dt="2020-03-30T18:35:35.337" v="807"/>
          <ac:spMkLst>
            <pc:docMk/>
            <pc:sldMk cId="2682501108" sldId="678"/>
            <ac:spMk id="2" creationId="{3C34EE15-1521-4A1D-A515-EEE54DD625C5}"/>
          </ac:spMkLst>
        </pc:spChg>
        <pc:spChg chg="del mod">
          <ac:chgData name="Renata Festa" userId="6f22df47-533b-4c2a-a3c1-7f9ad1d63e10" providerId="ADAL" clId="{7C089C3E-F5BE-4CA8-B83E-9B6651B60167}" dt="2020-03-30T18:36:21.651" v="819" actId="12084"/>
          <ac:spMkLst>
            <pc:docMk/>
            <pc:sldMk cId="2682501108" sldId="678"/>
            <ac:spMk id="3" creationId="{79B219FF-6FC4-478C-A631-69B45BFFA9E6}"/>
          </ac:spMkLst>
        </pc:spChg>
        <pc:graphicFrameChg chg="add mod">
          <ac:chgData name="Renata Festa" userId="6f22df47-533b-4c2a-a3c1-7f9ad1d63e10" providerId="ADAL" clId="{7C089C3E-F5BE-4CA8-B83E-9B6651B60167}" dt="2020-03-30T18:36:21.651" v="819" actId="12084"/>
          <ac:graphicFrameMkLst>
            <pc:docMk/>
            <pc:sldMk cId="2682501108" sldId="678"/>
            <ac:graphicFrameMk id="6" creationId="{21D94371-F271-4AFA-B2B8-FE9E24E6DE59}"/>
          </ac:graphicFrameMkLst>
        </pc:graphicFrameChg>
        <pc:picChg chg="add mod">
          <ac:chgData name="Renata Festa" userId="6f22df47-533b-4c2a-a3c1-7f9ad1d63e10" providerId="ADAL" clId="{7C089C3E-F5BE-4CA8-B83E-9B6651B60167}" dt="2020-03-30T18:36:08.030" v="816" actId="1035"/>
          <ac:picMkLst>
            <pc:docMk/>
            <pc:sldMk cId="2682501108" sldId="678"/>
            <ac:picMk id="4" creationId="{37F3FE9C-58EF-4086-B0E0-63554847A103}"/>
          </ac:picMkLst>
        </pc:picChg>
        <pc:picChg chg="add mod">
          <ac:chgData name="Renata Festa" userId="6f22df47-533b-4c2a-a3c1-7f9ad1d63e10" providerId="ADAL" clId="{7C089C3E-F5BE-4CA8-B83E-9B6651B60167}" dt="2020-03-30T18:36:08.030" v="816" actId="1035"/>
          <ac:picMkLst>
            <pc:docMk/>
            <pc:sldMk cId="2682501108" sldId="678"/>
            <ac:picMk id="5" creationId="{B90D3E10-49FC-4D40-9911-31BC405A6E91}"/>
          </ac:picMkLst>
        </pc:picChg>
      </pc:sldChg>
      <pc:sldChg chg="addSp delSp modSp add mod modAnim modShow">
        <pc:chgData name="Renata Festa" userId="6f22df47-533b-4c2a-a3c1-7f9ad1d63e10" providerId="ADAL" clId="{7C089C3E-F5BE-4CA8-B83E-9B6651B60167}" dt="2020-03-30T18:40:02.644" v="843" actId="729"/>
        <pc:sldMkLst>
          <pc:docMk/>
          <pc:sldMk cId="1156296422" sldId="679"/>
        </pc:sldMkLst>
        <pc:spChg chg="mod">
          <ac:chgData name="Renata Festa" userId="6f22df47-533b-4c2a-a3c1-7f9ad1d63e10" providerId="ADAL" clId="{7C089C3E-F5BE-4CA8-B83E-9B6651B60167}" dt="2020-03-30T18:37:55.955" v="826"/>
          <ac:spMkLst>
            <pc:docMk/>
            <pc:sldMk cId="1156296422" sldId="679"/>
            <ac:spMk id="2" creationId="{3C34EE15-1521-4A1D-A515-EEE54DD625C5}"/>
          </ac:spMkLst>
        </pc:spChg>
        <pc:spChg chg="del mod">
          <ac:chgData name="Renata Festa" userId="6f22df47-533b-4c2a-a3c1-7f9ad1d63e10" providerId="ADAL" clId="{7C089C3E-F5BE-4CA8-B83E-9B6651B60167}" dt="2020-03-30T18:38:35.187" v="835" actId="12084"/>
          <ac:spMkLst>
            <pc:docMk/>
            <pc:sldMk cId="1156296422" sldId="679"/>
            <ac:spMk id="3" creationId="{79B219FF-6FC4-478C-A631-69B45BFFA9E6}"/>
          </ac:spMkLst>
        </pc:spChg>
        <pc:graphicFrameChg chg="add mod">
          <ac:chgData name="Renata Festa" userId="6f22df47-533b-4c2a-a3c1-7f9ad1d63e10" providerId="ADAL" clId="{7C089C3E-F5BE-4CA8-B83E-9B6651B60167}" dt="2020-03-30T18:38:35.187" v="835" actId="12084"/>
          <ac:graphicFrameMkLst>
            <pc:docMk/>
            <pc:sldMk cId="1156296422" sldId="679"/>
            <ac:graphicFrameMk id="7" creationId="{007F28DE-703B-47A4-8D8A-390E32D952F8}"/>
          </ac:graphicFrameMkLst>
        </pc:graphicFrameChg>
        <pc:picChg chg="add">
          <ac:chgData name="Renata Festa" userId="6f22df47-533b-4c2a-a3c1-7f9ad1d63e10" providerId="ADAL" clId="{7C089C3E-F5BE-4CA8-B83E-9B6651B60167}" dt="2020-03-30T18:38:07.860" v="827"/>
          <ac:picMkLst>
            <pc:docMk/>
            <pc:sldMk cId="1156296422" sldId="679"/>
            <ac:picMk id="4" creationId="{44639B59-5CBF-41F5-8EF5-53E063A689FE}"/>
          </ac:picMkLst>
        </pc:picChg>
        <pc:picChg chg="add">
          <ac:chgData name="Renata Festa" userId="6f22df47-533b-4c2a-a3c1-7f9ad1d63e10" providerId="ADAL" clId="{7C089C3E-F5BE-4CA8-B83E-9B6651B60167}" dt="2020-03-30T18:38:07.860" v="827"/>
          <ac:picMkLst>
            <pc:docMk/>
            <pc:sldMk cId="1156296422" sldId="679"/>
            <ac:picMk id="5" creationId="{174C2EE5-0182-4596-A579-83F3DE4AE2ED}"/>
          </ac:picMkLst>
        </pc:picChg>
        <pc:picChg chg="add">
          <ac:chgData name="Renata Festa" userId="6f22df47-533b-4c2a-a3c1-7f9ad1d63e10" providerId="ADAL" clId="{7C089C3E-F5BE-4CA8-B83E-9B6651B60167}" dt="2020-03-30T18:38:07.860" v="827"/>
          <ac:picMkLst>
            <pc:docMk/>
            <pc:sldMk cId="1156296422" sldId="679"/>
            <ac:picMk id="6" creationId="{DF76A365-0532-44FF-BD74-66C093B90F88}"/>
          </ac:picMkLst>
        </pc:picChg>
      </pc:sldChg>
      <pc:sldChg chg="addSp delSp modSp add mod modAnim modShow">
        <pc:chgData name="Renata Festa" userId="6f22df47-533b-4c2a-a3c1-7f9ad1d63e10" providerId="ADAL" clId="{7C089C3E-F5BE-4CA8-B83E-9B6651B60167}" dt="2020-03-30T18:42:23.850" v="872" actId="729"/>
        <pc:sldMkLst>
          <pc:docMk/>
          <pc:sldMk cId="714767087" sldId="680"/>
        </pc:sldMkLst>
        <pc:spChg chg="mod">
          <ac:chgData name="Renata Festa" userId="6f22df47-533b-4c2a-a3c1-7f9ad1d63e10" providerId="ADAL" clId="{7C089C3E-F5BE-4CA8-B83E-9B6651B60167}" dt="2020-03-30T18:40:11.581" v="844"/>
          <ac:spMkLst>
            <pc:docMk/>
            <pc:sldMk cId="714767087" sldId="680"/>
            <ac:spMk id="2" creationId="{3C34EE15-1521-4A1D-A515-EEE54DD625C5}"/>
          </ac:spMkLst>
        </pc:spChg>
        <pc:spChg chg="del mod">
          <ac:chgData name="Renata Festa" userId="6f22df47-533b-4c2a-a3c1-7f9ad1d63e10" providerId="ADAL" clId="{7C089C3E-F5BE-4CA8-B83E-9B6651B60167}" dt="2020-03-30T18:40:54.350" v="856" actId="12084"/>
          <ac:spMkLst>
            <pc:docMk/>
            <pc:sldMk cId="714767087" sldId="680"/>
            <ac:spMk id="3" creationId="{79B219FF-6FC4-478C-A631-69B45BFFA9E6}"/>
          </ac:spMkLst>
        </pc:spChg>
        <pc:graphicFrameChg chg="add mod">
          <ac:chgData name="Renata Festa" userId="6f22df47-533b-4c2a-a3c1-7f9ad1d63e10" providerId="ADAL" clId="{7C089C3E-F5BE-4CA8-B83E-9B6651B60167}" dt="2020-03-30T18:40:59.528" v="858" actId="14100"/>
          <ac:graphicFrameMkLst>
            <pc:docMk/>
            <pc:sldMk cId="714767087" sldId="680"/>
            <ac:graphicFrameMk id="9" creationId="{2D9DF789-CABC-4EF4-9B26-088E489815E2}"/>
          </ac:graphicFrameMkLst>
        </pc:graphicFrameChg>
        <pc:picChg chg="add mod">
          <ac:chgData name="Renata Festa" userId="6f22df47-533b-4c2a-a3c1-7f9ad1d63e10" providerId="ADAL" clId="{7C089C3E-F5BE-4CA8-B83E-9B6651B60167}" dt="2020-03-30T18:40:28.296" v="846" actId="1076"/>
          <ac:picMkLst>
            <pc:docMk/>
            <pc:sldMk cId="714767087" sldId="680"/>
            <ac:picMk id="4" creationId="{7F0166BD-BD63-47B5-9A06-510301A345BF}"/>
          </ac:picMkLst>
        </pc:picChg>
        <pc:picChg chg="add mod">
          <ac:chgData name="Renata Festa" userId="6f22df47-533b-4c2a-a3c1-7f9ad1d63e10" providerId="ADAL" clId="{7C089C3E-F5BE-4CA8-B83E-9B6651B60167}" dt="2020-03-30T18:40:28.296" v="846" actId="1076"/>
          <ac:picMkLst>
            <pc:docMk/>
            <pc:sldMk cId="714767087" sldId="680"/>
            <ac:picMk id="5" creationId="{4CB70398-AE0E-4CCF-9E40-FD177AC18B4C}"/>
          </ac:picMkLst>
        </pc:picChg>
        <pc:picChg chg="add mod">
          <ac:chgData name="Renata Festa" userId="6f22df47-533b-4c2a-a3c1-7f9ad1d63e10" providerId="ADAL" clId="{7C089C3E-F5BE-4CA8-B83E-9B6651B60167}" dt="2020-03-30T18:40:28.296" v="846" actId="1076"/>
          <ac:picMkLst>
            <pc:docMk/>
            <pc:sldMk cId="714767087" sldId="680"/>
            <ac:picMk id="6" creationId="{134B2E13-0FFD-44C8-A48D-4238644141C0}"/>
          </ac:picMkLst>
        </pc:picChg>
        <pc:picChg chg="add mod">
          <ac:chgData name="Renata Festa" userId="6f22df47-533b-4c2a-a3c1-7f9ad1d63e10" providerId="ADAL" clId="{7C089C3E-F5BE-4CA8-B83E-9B6651B60167}" dt="2020-03-30T18:40:28.296" v="846" actId="1076"/>
          <ac:picMkLst>
            <pc:docMk/>
            <pc:sldMk cId="714767087" sldId="680"/>
            <ac:picMk id="7" creationId="{57A8EA5C-2217-40AE-9930-1803FF530196}"/>
          </ac:picMkLst>
        </pc:picChg>
        <pc:picChg chg="add mod">
          <ac:chgData name="Renata Festa" userId="6f22df47-533b-4c2a-a3c1-7f9ad1d63e10" providerId="ADAL" clId="{7C089C3E-F5BE-4CA8-B83E-9B6651B60167}" dt="2020-03-30T18:40:28.296" v="846" actId="1076"/>
          <ac:picMkLst>
            <pc:docMk/>
            <pc:sldMk cId="714767087" sldId="680"/>
            <ac:picMk id="8" creationId="{E599AD78-8D80-42F7-AB94-E6B6A5343F31}"/>
          </ac:picMkLst>
        </pc:picChg>
      </pc:sldChg>
      <pc:sldChg chg="addSp delSp modSp add mod modAnim modShow">
        <pc:chgData name="Renata Festa" userId="6f22df47-533b-4c2a-a3c1-7f9ad1d63e10" providerId="ADAL" clId="{7C089C3E-F5BE-4CA8-B83E-9B6651B60167}" dt="2020-03-30T18:57:34.057" v="889"/>
        <pc:sldMkLst>
          <pc:docMk/>
          <pc:sldMk cId="2719980920" sldId="681"/>
        </pc:sldMkLst>
        <pc:spChg chg="mod">
          <ac:chgData name="Renata Festa" userId="6f22df47-533b-4c2a-a3c1-7f9ad1d63e10" providerId="ADAL" clId="{7C089C3E-F5BE-4CA8-B83E-9B6651B60167}" dt="2020-03-30T18:56:33.920" v="873"/>
          <ac:spMkLst>
            <pc:docMk/>
            <pc:sldMk cId="2719980920" sldId="681"/>
            <ac:spMk id="2" creationId="{3C34EE15-1521-4A1D-A515-EEE54DD625C5}"/>
          </ac:spMkLst>
        </pc:spChg>
        <pc:spChg chg="del mod">
          <ac:chgData name="Renata Festa" userId="6f22df47-533b-4c2a-a3c1-7f9ad1d63e10" providerId="ADAL" clId="{7C089C3E-F5BE-4CA8-B83E-9B6651B60167}" dt="2020-03-30T18:57:17.065" v="884" actId="12084"/>
          <ac:spMkLst>
            <pc:docMk/>
            <pc:sldMk cId="2719980920" sldId="681"/>
            <ac:spMk id="3" creationId="{79B219FF-6FC4-478C-A631-69B45BFFA9E6}"/>
          </ac:spMkLst>
        </pc:spChg>
        <pc:graphicFrameChg chg="add mod">
          <ac:chgData name="Renata Festa" userId="6f22df47-533b-4c2a-a3c1-7f9ad1d63e10" providerId="ADAL" clId="{7C089C3E-F5BE-4CA8-B83E-9B6651B60167}" dt="2020-03-30T18:57:17.065" v="884" actId="12084"/>
          <ac:graphicFrameMkLst>
            <pc:docMk/>
            <pc:sldMk cId="2719980920" sldId="681"/>
            <ac:graphicFrameMk id="7" creationId="{222671A8-607B-4EF7-99C9-F99BD41877C5}"/>
          </ac:graphicFrameMkLst>
        </pc:graphicFrameChg>
        <pc:picChg chg="add mod">
          <ac:chgData name="Renata Festa" userId="6f22df47-533b-4c2a-a3c1-7f9ad1d63e10" providerId="ADAL" clId="{7C089C3E-F5BE-4CA8-B83E-9B6651B60167}" dt="2020-03-30T18:57:04.451" v="881" actId="1076"/>
          <ac:picMkLst>
            <pc:docMk/>
            <pc:sldMk cId="2719980920" sldId="681"/>
            <ac:picMk id="4" creationId="{74936AD7-1F9C-48E0-89B2-8A84BC6DF1D2}"/>
          </ac:picMkLst>
        </pc:picChg>
        <pc:picChg chg="add mod">
          <ac:chgData name="Renata Festa" userId="6f22df47-533b-4c2a-a3c1-7f9ad1d63e10" providerId="ADAL" clId="{7C089C3E-F5BE-4CA8-B83E-9B6651B60167}" dt="2020-03-30T18:57:04.451" v="881" actId="1076"/>
          <ac:picMkLst>
            <pc:docMk/>
            <pc:sldMk cId="2719980920" sldId="681"/>
            <ac:picMk id="5" creationId="{9D87214C-97E4-4EEB-84A5-9A4B45CCBBC4}"/>
          </ac:picMkLst>
        </pc:picChg>
        <pc:picChg chg="add mod">
          <ac:chgData name="Renata Festa" userId="6f22df47-533b-4c2a-a3c1-7f9ad1d63e10" providerId="ADAL" clId="{7C089C3E-F5BE-4CA8-B83E-9B6651B60167}" dt="2020-03-30T18:57:04.451" v="881" actId="1076"/>
          <ac:picMkLst>
            <pc:docMk/>
            <pc:sldMk cId="2719980920" sldId="681"/>
            <ac:picMk id="6" creationId="{0351A02E-079B-463C-BB08-A6CF66EC72D9}"/>
          </ac:picMkLst>
        </pc:picChg>
      </pc:sldChg>
      <pc:sldChg chg="add del">
        <pc:chgData name="Renata Festa" userId="6f22df47-533b-4c2a-a3c1-7f9ad1d63e10" providerId="ADAL" clId="{7C089C3E-F5BE-4CA8-B83E-9B6651B60167}" dt="2020-03-30T18:59:18.503" v="909" actId="47"/>
        <pc:sldMkLst>
          <pc:docMk/>
          <pc:sldMk cId="3165192958" sldId="682"/>
        </pc:sldMkLst>
      </pc:sldChg>
    </pc:docChg>
  </pc:docChgLst>
  <pc:docChgLst>
    <pc:chgData name="Batuhan Yildiz" userId="90f344fc-4655-4923-aeaf-697bba59c1a7" providerId="ADAL" clId="{1113953D-D7AA-41EA-910B-F6D2FC09DEBA}"/>
    <pc:docChg chg="undo custSel addSld delSld modSld modSection">
      <pc:chgData name="Batuhan Yildiz" userId="90f344fc-4655-4923-aeaf-697bba59c1a7" providerId="ADAL" clId="{1113953D-D7AA-41EA-910B-F6D2FC09DEBA}" dt="2020-04-30T19:43:54.359" v="66"/>
      <pc:docMkLst>
        <pc:docMk/>
      </pc:docMkLst>
      <pc:sldChg chg="modSp">
        <pc:chgData name="Batuhan Yildiz" userId="90f344fc-4655-4923-aeaf-697bba59c1a7" providerId="ADAL" clId="{1113953D-D7AA-41EA-910B-F6D2FC09DEBA}" dt="2020-04-30T19:40:14.950" v="43" actId="12100"/>
        <pc:sldMkLst>
          <pc:docMk/>
          <pc:sldMk cId="3959608542" sldId="591"/>
        </pc:sldMkLst>
        <pc:graphicFrameChg chg="mod">
          <ac:chgData name="Batuhan Yildiz" userId="90f344fc-4655-4923-aeaf-697bba59c1a7" providerId="ADAL" clId="{1113953D-D7AA-41EA-910B-F6D2FC09DEBA}" dt="2020-04-30T19:40:14.950" v="43" actId="12100"/>
          <ac:graphicFrameMkLst>
            <pc:docMk/>
            <pc:sldMk cId="3959608542" sldId="591"/>
            <ac:graphicFrameMk id="10" creationId="{57975C16-59A4-41E6-A7F0-BAFC8A4ABDE7}"/>
          </ac:graphicFrameMkLst>
        </pc:graphicFrameChg>
      </pc:sldChg>
      <pc:sldChg chg="modSp mod modNotesTx">
        <pc:chgData name="Batuhan Yildiz" userId="90f344fc-4655-4923-aeaf-697bba59c1a7" providerId="ADAL" clId="{1113953D-D7AA-41EA-910B-F6D2FC09DEBA}" dt="2020-04-30T18:07:04.708" v="12" actId="20577"/>
        <pc:sldMkLst>
          <pc:docMk/>
          <pc:sldMk cId="2401107922" sldId="593"/>
        </pc:sldMkLst>
        <pc:spChg chg="mod">
          <ac:chgData name="Batuhan Yildiz" userId="90f344fc-4655-4923-aeaf-697bba59c1a7" providerId="ADAL" clId="{1113953D-D7AA-41EA-910B-F6D2FC09DEBA}" dt="2020-04-30T18:06:41.338" v="4" actId="20577"/>
          <ac:spMkLst>
            <pc:docMk/>
            <pc:sldMk cId="2401107922" sldId="593"/>
            <ac:spMk id="3" creationId="{8F64A22E-2B43-4FC6-AF08-0CDB3F9E9269}"/>
          </ac:spMkLst>
        </pc:spChg>
        <pc:spChg chg="mod">
          <ac:chgData name="Batuhan Yildiz" userId="90f344fc-4655-4923-aeaf-697bba59c1a7" providerId="ADAL" clId="{1113953D-D7AA-41EA-910B-F6D2FC09DEBA}" dt="2020-04-30T18:06:51.830" v="9" actId="15"/>
          <ac:spMkLst>
            <pc:docMk/>
            <pc:sldMk cId="2401107922" sldId="593"/>
            <ac:spMk id="6" creationId="{637E159C-9ACF-48AE-927A-D5FB13695C7F}"/>
          </ac:spMkLst>
        </pc:spChg>
      </pc:sldChg>
      <pc:sldChg chg="modNotesTx">
        <pc:chgData name="Batuhan Yildiz" userId="90f344fc-4655-4923-aeaf-697bba59c1a7" providerId="ADAL" clId="{1113953D-D7AA-41EA-910B-F6D2FC09DEBA}" dt="2020-04-30T18:10:26.712" v="13"/>
        <pc:sldMkLst>
          <pc:docMk/>
          <pc:sldMk cId="830604392" sldId="594"/>
        </pc:sldMkLst>
      </pc:sldChg>
      <pc:sldChg chg="modNotesTx">
        <pc:chgData name="Batuhan Yildiz" userId="90f344fc-4655-4923-aeaf-697bba59c1a7" providerId="ADAL" clId="{1113953D-D7AA-41EA-910B-F6D2FC09DEBA}" dt="2020-04-30T18:24:27.868" v="30"/>
        <pc:sldMkLst>
          <pc:docMk/>
          <pc:sldMk cId="624912330" sldId="602"/>
        </pc:sldMkLst>
      </pc:sldChg>
      <pc:sldChg chg="modSp">
        <pc:chgData name="Batuhan Yildiz" userId="90f344fc-4655-4923-aeaf-697bba59c1a7" providerId="ADAL" clId="{1113953D-D7AA-41EA-910B-F6D2FC09DEBA}" dt="2020-04-30T19:43:54.359" v="66"/>
        <pc:sldMkLst>
          <pc:docMk/>
          <pc:sldMk cId="2200033997" sldId="639"/>
        </pc:sldMkLst>
        <pc:graphicFrameChg chg="mod">
          <ac:chgData name="Batuhan Yildiz" userId="90f344fc-4655-4923-aeaf-697bba59c1a7" providerId="ADAL" clId="{1113953D-D7AA-41EA-910B-F6D2FC09DEBA}" dt="2020-04-30T19:43:54.359" v="66"/>
          <ac:graphicFrameMkLst>
            <pc:docMk/>
            <pc:sldMk cId="2200033997" sldId="639"/>
            <ac:graphicFrameMk id="3" creationId="{9484E1FE-7534-495E-863C-657A46F5E628}"/>
          </ac:graphicFrameMkLst>
        </pc:graphicFrameChg>
      </pc:sldChg>
      <pc:sldChg chg="modSp">
        <pc:chgData name="Batuhan Yildiz" userId="90f344fc-4655-4923-aeaf-697bba59c1a7" providerId="ADAL" clId="{1113953D-D7AA-41EA-910B-F6D2FC09DEBA}" dt="2020-04-30T19:40:35.060" v="45" actId="14100"/>
        <pc:sldMkLst>
          <pc:docMk/>
          <pc:sldMk cId="1802184922" sldId="640"/>
        </pc:sldMkLst>
        <pc:graphicFrameChg chg="mod">
          <ac:chgData name="Batuhan Yildiz" userId="90f344fc-4655-4923-aeaf-697bba59c1a7" providerId="ADAL" clId="{1113953D-D7AA-41EA-910B-F6D2FC09DEBA}" dt="2020-04-30T19:40:35.060" v="45" actId="14100"/>
          <ac:graphicFrameMkLst>
            <pc:docMk/>
            <pc:sldMk cId="1802184922" sldId="640"/>
            <ac:graphicFrameMk id="3" creationId="{9484E1FE-7534-495E-863C-657A46F5E628}"/>
          </ac:graphicFrameMkLst>
        </pc:graphicFrameChg>
      </pc:sldChg>
      <pc:sldChg chg="del">
        <pc:chgData name="Batuhan Yildiz" userId="90f344fc-4655-4923-aeaf-697bba59c1a7" providerId="ADAL" clId="{1113953D-D7AA-41EA-910B-F6D2FC09DEBA}" dt="2020-04-30T19:39:13.535" v="38" actId="47"/>
        <pc:sldMkLst>
          <pc:docMk/>
          <pc:sldMk cId="3666777308" sldId="641"/>
        </pc:sldMkLst>
      </pc:sldChg>
      <pc:sldChg chg="del">
        <pc:chgData name="Batuhan Yildiz" userId="90f344fc-4655-4923-aeaf-697bba59c1a7" providerId="ADAL" clId="{1113953D-D7AA-41EA-910B-F6D2FC09DEBA}" dt="2020-04-30T19:39:03.917" v="37" actId="47"/>
        <pc:sldMkLst>
          <pc:docMk/>
          <pc:sldMk cId="3389751675" sldId="642"/>
        </pc:sldMkLst>
      </pc:sldChg>
      <pc:sldChg chg="del">
        <pc:chgData name="Batuhan Yildiz" userId="90f344fc-4655-4923-aeaf-697bba59c1a7" providerId="ADAL" clId="{1113953D-D7AA-41EA-910B-F6D2FC09DEBA}" dt="2020-04-30T19:38:32.740" v="32" actId="47"/>
        <pc:sldMkLst>
          <pc:docMk/>
          <pc:sldMk cId="274713231" sldId="643"/>
        </pc:sldMkLst>
      </pc:sldChg>
      <pc:sldChg chg="del">
        <pc:chgData name="Batuhan Yildiz" userId="90f344fc-4655-4923-aeaf-697bba59c1a7" providerId="ADAL" clId="{1113953D-D7AA-41EA-910B-F6D2FC09DEBA}" dt="2020-04-30T19:38:20.851" v="31" actId="47"/>
        <pc:sldMkLst>
          <pc:docMk/>
          <pc:sldMk cId="1434385646" sldId="644"/>
        </pc:sldMkLst>
      </pc:sldChg>
      <pc:sldChg chg="modNotesTx">
        <pc:chgData name="Batuhan Yildiz" userId="90f344fc-4655-4923-aeaf-697bba59c1a7" providerId="ADAL" clId="{1113953D-D7AA-41EA-910B-F6D2FC09DEBA}" dt="2020-04-30T18:01:47.654" v="2" actId="20577"/>
        <pc:sldMkLst>
          <pc:docMk/>
          <pc:sldMk cId="363707813" sldId="649"/>
        </pc:sldMkLst>
      </pc:sldChg>
      <pc:sldChg chg="delSp modSp mod">
        <pc:chgData name="Batuhan Yildiz" userId="90f344fc-4655-4923-aeaf-697bba59c1a7" providerId="ADAL" clId="{1113953D-D7AA-41EA-910B-F6D2FC09DEBA}" dt="2020-04-30T19:38:57.072" v="36" actId="12100"/>
        <pc:sldMkLst>
          <pc:docMk/>
          <pc:sldMk cId="1209364596" sldId="650"/>
        </pc:sldMkLst>
        <pc:spChg chg="del">
          <ac:chgData name="Batuhan Yildiz" userId="90f344fc-4655-4923-aeaf-697bba59c1a7" providerId="ADAL" clId="{1113953D-D7AA-41EA-910B-F6D2FC09DEBA}" dt="2020-04-30T19:38:48.716" v="34" actId="478"/>
          <ac:spMkLst>
            <pc:docMk/>
            <pc:sldMk cId="1209364596" sldId="650"/>
            <ac:spMk id="3" creationId="{B578A921-2AD8-4CDF-A174-88D466C60543}"/>
          </ac:spMkLst>
        </pc:spChg>
        <pc:graphicFrameChg chg="mod">
          <ac:chgData name="Batuhan Yildiz" userId="90f344fc-4655-4923-aeaf-697bba59c1a7" providerId="ADAL" clId="{1113953D-D7AA-41EA-910B-F6D2FC09DEBA}" dt="2020-04-30T19:38:57.072" v="36" actId="12100"/>
          <ac:graphicFrameMkLst>
            <pc:docMk/>
            <pc:sldMk cId="1209364596" sldId="650"/>
            <ac:graphicFrameMk id="4" creationId="{628CC096-9C15-40B3-B3B6-9F2905FC96D7}"/>
          </ac:graphicFrameMkLst>
        </pc:graphicFrameChg>
      </pc:sldChg>
      <pc:sldChg chg="modSp">
        <pc:chgData name="Batuhan Yildiz" userId="90f344fc-4655-4923-aeaf-697bba59c1a7" providerId="ADAL" clId="{1113953D-D7AA-41EA-910B-F6D2FC09DEBA}" dt="2020-04-30T19:39:32.532" v="39" actId="12100"/>
        <pc:sldMkLst>
          <pc:docMk/>
          <pc:sldMk cId="1633852438" sldId="653"/>
        </pc:sldMkLst>
        <pc:graphicFrameChg chg="mod">
          <ac:chgData name="Batuhan Yildiz" userId="90f344fc-4655-4923-aeaf-697bba59c1a7" providerId="ADAL" clId="{1113953D-D7AA-41EA-910B-F6D2FC09DEBA}" dt="2020-04-30T19:39:32.532" v="39" actId="12100"/>
          <ac:graphicFrameMkLst>
            <pc:docMk/>
            <pc:sldMk cId="1633852438" sldId="653"/>
            <ac:graphicFrameMk id="11" creationId="{E369D871-2F68-441B-93D9-3F005256B8F8}"/>
          </ac:graphicFrameMkLst>
        </pc:graphicFrameChg>
      </pc:sldChg>
      <pc:sldChg chg="modSp">
        <pc:chgData name="Batuhan Yildiz" userId="90f344fc-4655-4923-aeaf-697bba59c1a7" providerId="ADAL" clId="{1113953D-D7AA-41EA-910B-F6D2FC09DEBA}" dt="2020-04-30T19:39:46.004" v="40" actId="12100"/>
        <pc:sldMkLst>
          <pc:docMk/>
          <pc:sldMk cId="1677999615" sldId="655"/>
        </pc:sldMkLst>
        <pc:graphicFrameChg chg="mod">
          <ac:chgData name="Batuhan Yildiz" userId="90f344fc-4655-4923-aeaf-697bba59c1a7" providerId="ADAL" clId="{1113953D-D7AA-41EA-910B-F6D2FC09DEBA}" dt="2020-04-30T19:39:46.004" v="40" actId="12100"/>
          <ac:graphicFrameMkLst>
            <pc:docMk/>
            <pc:sldMk cId="1677999615" sldId="655"/>
            <ac:graphicFrameMk id="5" creationId="{B52D751A-FBFA-49B5-B924-0759C2A5045C}"/>
          </ac:graphicFrameMkLst>
        </pc:graphicFrameChg>
      </pc:sldChg>
      <pc:sldChg chg="delSp mod">
        <pc:chgData name="Batuhan Yildiz" userId="90f344fc-4655-4923-aeaf-697bba59c1a7" providerId="ADAL" clId="{1113953D-D7AA-41EA-910B-F6D2FC09DEBA}" dt="2020-04-30T19:39:54.891" v="41" actId="478"/>
        <pc:sldMkLst>
          <pc:docMk/>
          <pc:sldMk cId="646150412" sldId="656"/>
        </pc:sldMkLst>
        <pc:spChg chg="del">
          <ac:chgData name="Batuhan Yildiz" userId="90f344fc-4655-4923-aeaf-697bba59c1a7" providerId="ADAL" clId="{1113953D-D7AA-41EA-910B-F6D2FC09DEBA}" dt="2020-04-30T19:39:54.891" v="41" actId="478"/>
          <ac:spMkLst>
            <pc:docMk/>
            <pc:sldMk cId="646150412" sldId="656"/>
            <ac:spMk id="3" creationId="{BFEDD7F7-468A-403D-AFE1-C912CB6B4E07}"/>
          </ac:spMkLst>
        </pc:spChg>
      </pc:sldChg>
      <pc:sldChg chg="modSp">
        <pc:chgData name="Batuhan Yildiz" userId="90f344fc-4655-4923-aeaf-697bba59c1a7" providerId="ADAL" clId="{1113953D-D7AA-41EA-910B-F6D2FC09DEBA}" dt="2020-04-30T19:40:05.742" v="42" actId="12100"/>
        <pc:sldMkLst>
          <pc:docMk/>
          <pc:sldMk cId="2413882272" sldId="657"/>
        </pc:sldMkLst>
        <pc:graphicFrameChg chg="mod">
          <ac:chgData name="Batuhan Yildiz" userId="90f344fc-4655-4923-aeaf-697bba59c1a7" providerId="ADAL" clId="{1113953D-D7AA-41EA-910B-F6D2FC09DEBA}" dt="2020-04-30T19:40:05.742" v="42" actId="12100"/>
          <ac:graphicFrameMkLst>
            <pc:docMk/>
            <pc:sldMk cId="2413882272" sldId="657"/>
            <ac:graphicFrameMk id="10" creationId="{EC580770-C52E-45A0-A9C5-9F336FE787AF}"/>
          </ac:graphicFrameMkLst>
        </pc:graphicFrameChg>
      </pc:sldChg>
      <pc:sldChg chg="delSp mod">
        <pc:chgData name="Batuhan Yildiz" userId="90f344fc-4655-4923-aeaf-697bba59c1a7" providerId="ADAL" clId="{1113953D-D7AA-41EA-910B-F6D2FC09DEBA}" dt="2020-04-30T19:40:21.623" v="44" actId="478"/>
        <pc:sldMkLst>
          <pc:docMk/>
          <pc:sldMk cId="2461294574" sldId="658"/>
        </pc:sldMkLst>
        <pc:spChg chg="del">
          <ac:chgData name="Batuhan Yildiz" userId="90f344fc-4655-4923-aeaf-697bba59c1a7" providerId="ADAL" clId="{1113953D-D7AA-41EA-910B-F6D2FC09DEBA}" dt="2020-04-30T19:40:21.623" v="44" actId="478"/>
          <ac:spMkLst>
            <pc:docMk/>
            <pc:sldMk cId="2461294574" sldId="658"/>
            <ac:spMk id="4" creationId="{F3616A99-090F-45E1-9334-58D58B148205}"/>
          </ac:spMkLst>
        </pc:spChg>
      </pc:sldChg>
      <pc:sldChg chg="delSp mod">
        <pc:chgData name="Batuhan Yildiz" userId="90f344fc-4655-4923-aeaf-697bba59c1a7" providerId="ADAL" clId="{1113953D-D7AA-41EA-910B-F6D2FC09DEBA}" dt="2020-04-30T19:40:48.972" v="46" actId="478"/>
        <pc:sldMkLst>
          <pc:docMk/>
          <pc:sldMk cId="68233416" sldId="660"/>
        </pc:sldMkLst>
        <pc:spChg chg="del">
          <ac:chgData name="Batuhan Yildiz" userId="90f344fc-4655-4923-aeaf-697bba59c1a7" providerId="ADAL" clId="{1113953D-D7AA-41EA-910B-F6D2FC09DEBA}" dt="2020-04-30T19:40:48.972" v="46" actId="478"/>
          <ac:spMkLst>
            <pc:docMk/>
            <pc:sldMk cId="68233416" sldId="660"/>
            <ac:spMk id="3" creationId="{79B219FF-6FC4-478C-A631-69B45BFFA9E6}"/>
          </ac:spMkLst>
        </pc:spChg>
      </pc:sldChg>
      <pc:sldChg chg="delSp modSp mod">
        <pc:chgData name="Batuhan Yildiz" userId="90f344fc-4655-4923-aeaf-697bba59c1a7" providerId="ADAL" clId="{1113953D-D7AA-41EA-910B-F6D2FC09DEBA}" dt="2020-04-30T19:41:32.316" v="51" actId="12100"/>
        <pc:sldMkLst>
          <pc:docMk/>
          <pc:sldMk cId="2259471535" sldId="662"/>
        </pc:sldMkLst>
        <pc:spChg chg="del">
          <ac:chgData name="Batuhan Yildiz" userId="90f344fc-4655-4923-aeaf-697bba59c1a7" providerId="ADAL" clId="{1113953D-D7AA-41EA-910B-F6D2FC09DEBA}" dt="2020-04-30T19:41:20.883" v="50" actId="478"/>
          <ac:spMkLst>
            <pc:docMk/>
            <pc:sldMk cId="2259471535" sldId="662"/>
            <ac:spMk id="3" creationId="{79B219FF-6FC4-478C-A631-69B45BFFA9E6}"/>
          </ac:spMkLst>
        </pc:spChg>
        <pc:graphicFrameChg chg="mod">
          <ac:chgData name="Batuhan Yildiz" userId="90f344fc-4655-4923-aeaf-697bba59c1a7" providerId="ADAL" clId="{1113953D-D7AA-41EA-910B-F6D2FC09DEBA}" dt="2020-04-30T19:41:32.316" v="51" actId="12100"/>
          <ac:graphicFrameMkLst>
            <pc:docMk/>
            <pc:sldMk cId="2259471535" sldId="662"/>
            <ac:graphicFrameMk id="4" creationId="{4A1DE566-8E25-44B4-84D2-DF381F5CEC6B}"/>
          </ac:graphicFrameMkLst>
        </pc:graphicFrameChg>
      </pc:sldChg>
      <pc:sldChg chg="modSp">
        <pc:chgData name="Batuhan Yildiz" userId="90f344fc-4655-4923-aeaf-697bba59c1a7" providerId="ADAL" clId="{1113953D-D7AA-41EA-910B-F6D2FC09DEBA}" dt="2020-04-30T19:41:46.360" v="52" actId="12100"/>
        <pc:sldMkLst>
          <pc:docMk/>
          <pc:sldMk cId="1618443921" sldId="664"/>
        </pc:sldMkLst>
        <pc:graphicFrameChg chg="mod">
          <ac:chgData name="Batuhan Yildiz" userId="90f344fc-4655-4923-aeaf-697bba59c1a7" providerId="ADAL" clId="{1113953D-D7AA-41EA-910B-F6D2FC09DEBA}" dt="2020-04-30T19:41:46.360" v="52" actId="12100"/>
          <ac:graphicFrameMkLst>
            <pc:docMk/>
            <pc:sldMk cId="1618443921" sldId="664"/>
            <ac:graphicFrameMk id="4" creationId="{0A9431A1-8C9F-4A54-BFE0-9635E2C6D74A}"/>
          </ac:graphicFrameMkLst>
        </pc:graphicFrameChg>
      </pc:sldChg>
      <pc:sldChg chg="modSp">
        <pc:chgData name="Batuhan Yildiz" userId="90f344fc-4655-4923-aeaf-697bba59c1a7" providerId="ADAL" clId="{1113953D-D7AA-41EA-910B-F6D2FC09DEBA}" dt="2020-04-30T19:42:38.170" v="54" actId="12100"/>
        <pc:sldMkLst>
          <pc:docMk/>
          <pc:sldMk cId="3931387040" sldId="665"/>
        </pc:sldMkLst>
        <pc:graphicFrameChg chg="mod">
          <ac:chgData name="Batuhan Yildiz" userId="90f344fc-4655-4923-aeaf-697bba59c1a7" providerId="ADAL" clId="{1113953D-D7AA-41EA-910B-F6D2FC09DEBA}" dt="2020-04-30T19:42:38.170" v="54" actId="12100"/>
          <ac:graphicFrameMkLst>
            <pc:docMk/>
            <pc:sldMk cId="3931387040" sldId="665"/>
            <ac:graphicFrameMk id="4" creationId="{962C8F20-6C81-4921-9B85-810A32DFCE12}"/>
          </ac:graphicFrameMkLst>
        </pc:graphicFrameChg>
      </pc:sldChg>
      <pc:sldChg chg="delSp mod">
        <pc:chgData name="Batuhan Yildiz" userId="90f344fc-4655-4923-aeaf-697bba59c1a7" providerId="ADAL" clId="{1113953D-D7AA-41EA-910B-F6D2FC09DEBA}" dt="2020-04-30T19:41:04.581" v="47" actId="478"/>
        <pc:sldMkLst>
          <pc:docMk/>
          <pc:sldMk cId="3718624777" sldId="667"/>
        </pc:sldMkLst>
        <pc:spChg chg="del">
          <ac:chgData name="Batuhan Yildiz" userId="90f344fc-4655-4923-aeaf-697bba59c1a7" providerId="ADAL" clId="{1113953D-D7AA-41EA-910B-F6D2FC09DEBA}" dt="2020-04-30T19:41:04.581" v="47" actId="478"/>
          <ac:spMkLst>
            <pc:docMk/>
            <pc:sldMk cId="3718624777" sldId="667"/>
            <ac:spMk id="3" creationId="{79B219FF-6FC4-478C-A631-69B45BFFA9E6}"/>
          </ac:spMkLst>
        </pc:spChg>
      </pc:sldChg>
      <pc:sldChg chg="delSp mod">
        <pc:chgData name="Batuhan Yildiz" userId="90f344fc-4655-4923-aeaf-697bba59c1a7" providerId="ADAL" clId="{1113953D-D7AA-41EA-910B-F6D2FC09DEBA}" dt="2020-04-30T19:41:08.764" v="48" actId="478"/>
        <pc:sldMkLst>
          <pc:docMk/>
          <pc:sldMk cId="824515022" sldId="671"/>
        </pc:sldMkLst>
        <pc:spChg chg="del">
          <ac:chgData name="Batuhan Yildiz" userId="90f344fc-4655-4923-aeaf-697bba59c1a7" providerId="ADAL" clId="{1113953D-D7AA-41EA-910B-F6D2FC09DEBA}" dt="2020-04-30T19:41:08.764" v="48" actId="478"/>
          <ac:spMkLst>
            <pc:docMk/>
            <pc:sldMk cId="824515022" sldId="671"/>
            <ac:spMk id="3" creationId="{79B219FF-6FC4-478C-A631-69B45BFFA9E6}"/>
          </ac:spMkLst>
        </pc:spChg>
      </pc:sldChg>
      <pc:sldChg chg="delSp mod">
        <pc:chgData name="Batuhan Yildiz" userId="90f344fc-4655-4923-aeaf-697bba59c1a7" providerId="ADAL" clId="{1113953D-D7AA-41EA-910B-F6D2FC09DEBA}" dt="2020-04-30T19:41:13.014" v="49" actId="478"/>
        <pc:sldMkLst>
          <pc:docMk/>
          <pc:sldMk cId="3396917944" sldId="672"/>
        </pc:sldMkLst>
        <pc:spChg chg="del">
          <ac:chgData name="Batuhan Yildiz" userId="90f344fc-4655-4923-aeaf-697bba59c1a7" providerId="ADAL" clId="{1113953D-D7AA-41EA-910B-F6D2FC09DEBA}" dt="2020-04-30T19:41:13.014" v="49" actId="478"/>
          <ac:spMkLst>
            <pc:docMk/>
            <pc:sldMk cId="3396917944" sldId="672"/>
            <ac:spMk id="3" creationId="{79B219FF-6FC4-478C-A631-69B45BFFA9E6}"/>
          </ac:spMkLst>
        </pc:spChg>
      </pc:sldChg>
      <pc:sldChg chg="delSp modSp mod">
        <pc:chgData name="Batuhan Yildiz" userId="90f344fc-4655-4923-aeaf-697bba59c1a7" providerId="ADAL" clId="{1113953D-D7AA-41EA-910B-F6D2FC09DEBA}" dt="2020-04-30T19:42:56.407" v="56" actId="478"/>
        <pc:sldMkLst>
          <pc:docMk/>
          <pc:sldMk cId="2163137392" sldId="675"/>
        </pc:sldMkLst>
        <pc:spChg chg="del">
          <ac:chgData name="Batuhan Yildiz" userId="90f344fc-4655-4923-aeaf-697bba59c1a7" providerId="ADAL" clId="{1113953D-D7AA-41EA-910B-F6D2FC09DEBA}" dt="2020-04-30T19:42:56.407" v="56" actId="478"/>
          <ac:spMkLst>
            <pc:docMk/>
            <pc:sldMk cId="2163137392" sldId="675"/>
            <ac:spMk id="3" creationId="{79B219FF-6FC4-478C-A631-69B45BFFA9E6}"/>
          </ac:spMkLst>
        </pc:spChg>
        <pc:graphicFrameChg chg="mod">
          <ac:chgData name="Batuhan Yildiz" userId="90f344fc-4655-4923-aeaf-697bba59c1a7" providerId="ADAL" clId="{1113953D-D7AA-41EA-910B-F6D2FC09DEBA}" dt="2020-04-30T19:42:52.655" v="55" actId="12100"/>
          <ac:graphicFrameMkLst>
            <pc:docMk/>
            <pc:sldMk cId="2163137392" sldId="675"/>
            <ac:graphicFrameMk id="4" creationId="{78C7C9F5-B052-432D-8272-895A1D93C49A}"/>
          </ac:graphicFrameMkLst>
        </pc:graphicFrameChg>
      </pc:sldChg>
      <pc:sldChg chg="modSp">
        <pc:chgData name="Batuhan Yildiz" userId="90f344fc-4655-4923-aeaf-697bba59c1a7" providerId="ADAL" clId="{1113953D-D7AA-41EA-910B-F6D2FC09DEBA}" dt="2020-04-30T19:42:07.072" v="53" actId="12100"/>
        <pc:sldMkLst>
          <pc:docMk/>
          <pc:sldMk cId="3340101420" sldId="676"/>
        </pc:sldMkLst>
        <pc:graphicFrameChg chg="mod">
          <ac:chgData name="Batuhan Yildiz" userId="90f344fc-4655-4923-aeaf-697bba59c1a7" providerId="ADAL" clId="{1113953D-D7AA-41EA-910B-F6D2FC09DEBA}" dt="2020-04-30T19:42:07.072" v="53" actId="12100"/>
          <ac:graphicFrameMkLst>
            <pc:docMk/>
            <pc:sldMk cId="3340101420" sldId="676"/>
            <ac:graphicFrameMk id="4" creationId="{33D6C512-F71A-49D9-8388-4A4DDA44686E}"/>
          </ac:graphicFrameMkLst>
        </pc:graphicFrameChg>
      </pc:sldChg>
      <pc:sldChg chg="modSp del mod modNotesTx">
        <pc:chgData name="Batuhan Yildiz" userId="90f344fc-4655-4923-aeaf-697bba59c1a7" providerId="ADAL" clId="{1113953D-D7AA-41EA-910B-F6D2FC09DEBA}" dt="2020-04-30T18:24:10.078" v="28" actId="2696"/>
        <pc:sldMkLst>
          <pc:docMk/>
          <pc:sldMk cId="2723041739" sldId="677"/>
        </pc:sldMkLst>
        <pc:spChg chg="mod">
          <ac:chgData name="Batuhan Yildiz" userId="90f344fc-4655-4923-aeaf-697bba59c1a7" providerId="ADAL" clId="{1113953D-D7AA-41EA-910B-F6D2FC09DEBA}" dt="2020-04-30T18:24:00.038" v="20" actId="20577"/>
          <ac:spMkLst>
            <pc:docMk/>
            <pc:sldMk cId="2723041739" sldId="677"/>
            <ac:spMk id="3" creationId="{8F64A22E-2B43-4FC6-AF08-0CDB3F9E9269}"/>
          </ac:spMkLst>
        </pc:spChg>
        <pc:spChg chg="mod">
          <ac:chgData name="Batuhan Yildiz" userId="90f344fc-4655-4923-aeaf-697bba59c1a7" providerId="ADAL" clId="{1113953D-D7AA-41EA-910B-F6D2FC09DEBA}" dt="2020-04-30T18:24:08.686" v="26" actId="12"/>
          <ac:spMkLst>
            <pc:docMk/>
            <pc:sldMk cId="2723041739" sldId="677"/>
            <ac:spMk id="6" creationId="{637E159C-9ACF-48AE-927A-D5FB13695C7F}"/>
          </ac:spMkLst>
        </pc:spChg>
      </pc:sldChg>
      <pc:sldChg chg="modSp add mod">
        <pc:chgData name="Batuhan Yildiz" userId="90f344fc-4655-4923-aeaf-697bba59c1a7" providerId="ADAL" clId="{1113953D-D7AA-41EA-910B-F6D2FC09DEBA}" dt="2020-04-30T18:24:14.046" v="29" actId="113"/>
        <pc:sldMkLst>
          <pc:docMk/>
          <pc:sldMk cId="157062869" sldId="682"/>
        </pc:sldMkLst>
        <pc:spChg chg="mod">
          <ac:chgData name="Batuhan Yildiz" userId="90f344fc-4655-4923-aeaf-697bba59c1a7" providerId="ADAL" clId="{1113953D-D7AA-41EA-910B-F6D2FC09DEBA}" dt="2020-04-30T18:24:14.046" v="29" actId="113"/>
          <ac:spMkLst>
            <pc:docMk/>
            <pc:sldMk cId="157062869" sldId="682"/>
            <ac:spMk id="6" creationId="{637E159C-9ACF-48AE-927A-D5FB13695C7F}"/>
          </ac:spMkLst>
        </pc:spChg>
      </pc:sldChg>
    </pc:docChg>
  </pc:docChgLst>
  <pc:docChgLst>
    <pc:chgData name="Batuhan Yildiz" userId="90f344fc-4655-4923-aeaf-697bba59c1a7" providerId="ADAL" clId="{2FB92523-1421-4080-B1FA-64199B218F85}"/>
    <pc:docChg chg="undo custSel addSld delSld modSld modSection">
      <pc:chgData name="Batuhan Yildiz" userId="90f344fc-4655-4923-aeaf-697bba59c1a7" providerId="ADAL" clId="{2FB92523-1421-4080-B1FA-64199B218F85}" dt="2020-05-19T21:23:05.070" v="74" actId="12100"/>
      <pc:docMkLst>
        <pc:docMk/>
      </pc:docMkLst>
      <pc:sldChg chg="add del modNotesTx">
        <pc:chgData name="Batuhan Yildiz" userId="90f344fc-4655-4923-aeaf-697bba59c1a7" providerId="ADAL" clId="{2FB92523-1421-4080-B1FA-64199B218F85}" dt="2020-05-19T21:03:35.703" v="26" actId="15"/>
        <pc:sldMkLst>
          <pc:docMk/>
          <pc:sldMk cId="2401107922" sldId="593"/>
        </pc:sldMkLst>
      </pc:sldChg>
      <pc:sldChg chg="modSp mod">
        <pc:chgData name="Batuhan Yildiz" userId="90f344fc-4655-4923-aeaf-697bba59c1a7" providerId="ADAL" clId="{2FB92523-1421-4080-B1FA-64199B218F85}" dt="2020-05-19T21:07:01.238" v="33" actId="947"/>
        <pc:sldMkLst>
          <pc:docMk/>
          <pc:sldMk cId="830604392" sldId="594"/>
        </pc:sldMkLst>
        <pc:spChg chg="mod">
          <ac:chgData name="Batuhan Yildiz" userId="90f344fc-4655-4923-aeaf-697bba59c1a7" providerId="ADAL" clId="{2FB92523-1421-4080-B1FA-64199B218F85}" dt="2020-05-19T21:07:01.238" v="33" actId="947"/>
          <ac:spMkLst>
            <pc:docMk/>
            <pc:sldMk cId="830604392" sldId="594"/>
            <ac:spMk id="3" creationId="{4897B8F8-26DF-42FB-ACB0-59929F1C2344}"/>
          </ac:spMkLst>
        </pc:spChg>
      </pc:sldChg>
      <pc:sldChg chg="modSp">
        <pc:chgData name="Batuhan Yildiz" userId="90f344fc-4655-4923-aeaf-697bba59c1a7" providerId="ADAL" clId="{2FB92523-1421-4080-B1FA-64199B218F85}" dt="2020-05-19T21:23:05.070" v="74" actId="12100"/>
        <pc:sldMkLst>
          <pc:docMk/>
          <pc:sldMk cId="480316712" sldId="599"/>
        </pc:sldMkLst>
        <pc:graphicFrameChg chg="mod">
          <ac:chgData name="Batuhan Yildiz" userId="90f344fc-4655-4923-aeaf-697bba59c1a7" providerId="ADAL" clId="{2FB92523-1421-4080-B1FA-64199B218F85}" dt="2020-05-19T21:23:05.070" v="74" actId="12100"/>
          <ac:graphicFrameMkLst>
            <pc:docMk/>
            <pc:sldMk cId="480316712" sldId="599"/>
            <ac:graphicFrameMk id="7" creationId="{772E7799-0799-479A-B770-FAFFC499EE8F}"/>
          </ac:graphicFrameMkLst>
        </pc:graphicFrameChg>
      </pc:sldChg>
      <pc:sldChg chg="modSp">
        <pc:chgData name="Batuhan Yildiz" userId="90f344fc-4655-4923-aeaf-697bba59c1a7" providerId="ADAL" clId="{2FB92523-1421-4080-B1FA-64199B218F85}" dt="2020-05-19T21:14:59.187" v="34" actId="12100"/>
        <pc:sldMkLst>
          <pc:docMk/>
          <pc:sldMk cId="444186627" sldId="646"/>
        </pc:sldMkLst>
        <pc:graphicFrameChg chg="mod">
          <ac:chgData name="Batuhan Yildiz" userId="90f344fc-4655-4923-aeaf-697bba59c1a7" providerId="ADAL" clId="{2FB92523-1421-4080-B1FA-64199B218F85}" dt="2020-05-19T21:14:59.187" v="34" actId="12100"/>
          <ac:graphicFrameMkLst>
            <pc:docMk/>
            <pc:sldMk cId="444186627" sldId="646"/>
            <ac:graphicFrameMk id="6" creationId="{75B22516-78CB-4C57-B8A4-15D316122D4E}"/>
          </ac:graphicFrameMkLst>
        </pc:graphicFrameChg>
      </pc:sldChg>
      <pc:sldChg chg="modSp mod chgLayout">
        <pc:chgData name="Batuhan Yildiz" userId="90f344fc-4655-4923-aeaf-697bba59c1a7" providerId="ADAL" clId="{2FB92523-1421-4080-B1FA-64199B218F85}" dt="2020-05-19T21:17:12.760" v="50" actId="14100"/>
        <pc:sldMkLst>
          <pc:docMk/>
          <pc:sldMk cId="3027092319" sldId="647"/>
        </pc:sldMkLst>
        <pc:spChg chg="mod ord">
          <ac:chgData name="Batuhan Yildiz" userId="90f344fc-4655-4923-aeaf-697bba59c1a7" providerId="ADAL" clId="{2FB92523-1421-4080-B1FA-64199B218F85}" dt="2020-05-19T21:16:08.473" v="41" actId="700"/>
          <ac:spMkLst>
            <pc:docMk/>
            <pc:sldMk cId="3027092319" sldId="647"/>
            <ac:spMk id="2" creationId="{7EBC93F5-60CE-4FCF-B85F-67A31B7FEFA0}"/>
          </ac:spMkLst>
        </pc:spChg>
        <pc:graphicFrameChg chg="mod ord">
          <ac:chgData name="Batuhan Yildiz" userId="90f344fc-4655-4923-aeaf-697bba59c1a7" providerId="ADAL" clId="{2FB92523-1421-4080-B1FA-64199B218F85}" dt="2020-05-19T21:17:12.760" v="50" actId="14100"/>
          <ac:graphicFrameMkLst>
            <pc:docMk/>
            <pc:sldMk cId="3027092319" sldId="647"/>
            <ac:graphicFrameMk id="5" creationId="{24414335-65B0-436E-BAE6-FBA78EFBAB8C}"/>
          </ac:graphicFrameMkLst>
        </pc:graphicFrameChg>
        <pc:picChg chg="mod">
          <ac:chgData name="Batuhan Yildiz" userId="90f344fc-4655-4923-aeaf-697bba59c1a7" providerId="ADAL" clId="{2FB92523-1421-4080-B1FA-64199B218F85}" dt="2020-05-19T21:15:49.262" v="39" actId="1076"/>
          <ac:picMkLst>
            <pc:docMk/>
            <pc:sldMk cId="3027092319" sldId="647"/>
            <ac:picMk id="6" creationId="{A2F9D861-46C7-4B82-8757-2091906DB610}"/>
          </ac:picMkLst>
        </pc:picChg>
        <pc:picChg chg="mod">
          <ac:chgData name="Batuhan Yildiz" userId="90f344fc-4655-4923-aeaf-697bba59c1a7" providerId="ADAL" clId="{2FB92523-1421-4080-B1FA-64199B218F85}" dt="2020-05-19T21:15:49.262" v="39" actId="1076"/>
          <ac:picMkLst>
            <pc:docMk/>
            <pc:sldMk cId="3027092319" sldId="647"/>
            <ac:picMk id="7" creationId="{45EEC88B-8711-4C9B-B67E-70B32CDC4105}"/>
          </ac:picMkLst>
        </pc:picChg>
        <pc:picChg chg="mod">
          <ac:chgData name="Batuhan Yildiz" userId="90f344fc-4655-4923-aeaf-697bba59c1a7" providerId="ADAL" clId="{2FB92523-1421-4080-B1FA-64199B218F85}" dt="2020-05-19T21:15:49.262" v="39" actId="1076"/>
          <ac:picMkLst>
            <pc:docMk/>
            <pc:sldMk cId="3027092319" sldId="647"/>
            <ac:picMk id="8" creationId="{9C8A52D1-9C22-4617-B03E-DE1933C7B790}"/>
          </ac:picMkLst>
        </pc:picChg>
        <pc:picChg chg="mod">
          <ac:chgData name="Batuhan Yildiz" userId="90f344fc-4655-4923-aeaf-697bba59c1a7" providerId="ADAL" clId="{2FB92523-1421-4080-B1FA-64199B218F85}" dt="2020-05-19T21:15:49.262" v="39" actId="1076"/>
          <ac:picMkLst>
            <pc:docMk/>
            <pc:sldMk cId="3027092319" sldId="647"/>
            <ac:picMk id="9" creationId="{05D417CC-4B8A-4A55-8615-735D7F8C37EB}"/>
          </ac:picMkLst>
        </pc:picChg>
        <pc:picChg chg="mod">
          <ac:chgData name="Batuhan Yildiz" userId="90f344fc-4655-4923-aeaf-697bba59c1a7" providerId="ADAL" clId="{2FB92523-1421-4080-B1FA-64199B218F85}" dt="2020-05-19T21:15:49.262" v="39" actId="1076"/>
          <ac:picMkLst>
            <pc:docMk/>
            <pc:sldMk cId="3027092319" sldId="647"/>
            <ac:picMk id="10" creationId="{C1A6BF8B-BD08-407A-A080-AFD3FF5240CF}"/>
          </ac:picMkLst>
        </pc:picChg>
      </pc:sldChg>
      <pc:sldChg chg="modSp mod chgLayout">
        <pc:chgData name="Batuhan Yildiz" userId="90f344fc-4655-4923-aeaf-697bba59c1a7" providerId="ADAL" clId="{2FB92523-1421-4080-B1FA-64199B218F85}" dt="2020-05-19T21:18:32.466" v="54" actId="700"/>
        <pc:sldMkLst>
          <pc:docMk/>
          <pc:sldMk cId="2985768160" sldId="651"/>
        </pc:sldMkLst>
        <pc:spChg chg="mod ord">
          <ac:chgData name="Batuhan Yildiz" userId="90f344fc-4655-4923-aeaf-697bba59c1a7" providerId="ADAL" clId="{2FB92523-1421-4080-B1FA-64199B218F85}" dt="2020-05-19T21:18:32.466" v="54" actId="700"/>
          <ac:spMkLst>
            <pc:docMk/>
            <pc:sldMk cId="2985768160" sldId="651"/>
            <ac:spMk id="2" creationId="{292A2E7C-D12F-43F9-9DA1-A806CCE1C521}"/>
          </ac:spMkLst>
        </pc:spChg>
        <pc:graphicFrameChg chg="mod ord">
          <ac:chgData name="Batuhan Yildiz" userId="90f344fc-4655-4923-aeaf-697bba59c1a7" providerId="ADAL" clId="{2FB92523-1421-4080-B1FA-64199B218F85}" dt="2020-05-19T21:18:32.466" v="54" actId="700"/>
          <ac:graphicFrameMkLst>
            <pc:docMk/>
            <pc:sldMk cId="2985768160" sldId="651"/>
            <ac:graphicFrameMk id="7" creationId="{E1405E2B-EFB8-4DAA-90DB-B37882A14E5C}"/>
          </ac:graphicFrameMkLst>
        </pc:graphicFrameChg>
      </pc:sldChg>
      <pc:sldChg chg="modSp">
        <pc:chgData name="Batuhan Yildiz" userId="90f344fc-4655-4923-aeaf-697bba59c1a7" providerId="ADAL" clId="{2FB92523-1421-4080-B1FA-64199B218F85}" dt="2020-05-19T21:18:14.244" v="52" actId="12100"/>
        <pc:sldMkLst>
          <pc:docMk/>
          <pc:sldMk cId="2082481495" sldId="652"/>
        </pc:sldMkLst>
        <pc:graphicFrameChg chg="mod">
          <ac:chgData name="Batuhan Yildiz" userId="90f344fc-4655-4923-aeaf-697bba59c1a7" providerId="ADAL" clId="{2FB92523-1421-4080-B1FA-64199B218F85}" dt="2020-05-19T21:18:14.244" v="52" actId="12100"/>
          <ac:graphicFrameMkLst>
            <pc:docMk/>
            <pc:sldMk cId="2082481495" sldId="652"/>
            <ac:graphicFrameMk id="5" creationId="{9E906C23-3962-48D7-8FAB-819D246220AC}"/>
          </ac:graphicFrameMkLst>
        </pc:graphicFrameChg>
      </pc:sldChg>
      <pc:sldChg chg="modSp">
        <pc:chgData name="Batuhan Yildiz" userId="90f344fc-4655-4923-aeaf-697bba59c1a7" providerId="ADAL" clId="{2FB92523-1421-4080-B1FA-64199B218F85}" dt="2020-05-19T21:19:57.914" v="55" actId="255"/>
        <pc:sldMkLst>
          <pc:docMk/>
          <pc:sldMk cId="1618443921" sldId="664"/>
        </pc:sldMkLst>
        <pc:graphicFrameChg chg="mod">
          <ac:chgData name="Batuhan Yildiz" userId="90f344fc-4655-4923-aeaf-697bba59c1a7" providerId="ADAL" clId="{2FB92523-1421-4080-B1FA-64199B218F85}" dt="2020-05-19T21:19:57.914" v="55" actId="255"/>
          <ac:graphicFrameMkLst>
            <pc:docMk/>
            <pc:sldMk cId="1618443921" sldId="664"/>
            <ac:graphicFrameMk id="4" creationId="{0A9431A1-8C9F-4A54-BFE0-9635E2C6D74A}"/>
          </ac:graphicFrameMkLst>
        </pc:graphicFrameChg>
      </pc:sldChg>
      <pc:sldChg chg="modSp">
        <pc:chgData name="Batuhan Yildiz" userId="90f344fc-4655-4923-aeaf-697bba59c1a7" providerId="ADAL" clId="{2FB92523-1421-4080-B1FA-64199B218F85}" dt="2020-05-19T21:20:40.832" v="59" actId="12100"/>
        <pc:sldMkLst>
          <pc:docMk/>
          <pc:sldMk cId="3931387040" sldId="665"/>
        </pc:sldMkLst>
        <pc:graphicFrameChg chg="mod">
          <ac:chgData name="Batuhan Yildiz" userId="90f344fc-4655-4923-aeaf-697bba59c1a7" providerId="ADAL" clId="{2FB92523-1421-4080-B1FA-64199B218F85}" dt="2020-05-19T21:20:40.832" v="59" actId="12100"/>
          <ac:graphicFrameMkLst>
            <pc:docMk/>
            <pc:sldMk cId="3931387040" sldId="665"/>
            <ac:graphicFrameMk id="4" creationId="{962C8F20-6C81-4921-9B85-810A32DFCE12}"/>
          </ac:graphicFrameMkLst>
        </pc:graphicFrameChg>
      </pc:sldChg>
      <pc:sldChg chg="modSp">
        <pc:chgData name="Batuhan Yildiz" userId="90f344fc-4655-4923-aeaf-697bba59c1a7" providerId="ADAL" clId="{2FB92523-1421-4080-B1FA-64199B218F85}" dt="2020-05-19T21:22:25.075" v="69" actId="12100"/>
        <pc:sldMkLst>
          <pc:docMk/>
          <pc:sldMk cId="596325325" sldId="666"/>
        </pc:sldMkLst>
        <pc:graphicFrameChg chg="mod">
          <ac:chgData name="Batuhan Yildiz" userId="90f344fc-4655-4923-aeaf-697bba59c1a7" providerId="ADAL" clId="{2FB92523-1421-4080-B1FA-64199B218F85}" dt="2020-05-19T21:22:25.075" v="69" actId="12100"/>
          <ac:graphicFrameMkLst>
            <pc:docMk/>
            <pc:sldMk cId="596325325" sldId="666"/>
            <ac:graphicFrameMk id="9" creationId="{F13E3570-616F-4279-82BD-9215C0BF58D2}"/>
          </ac:graphicFrameMkLst>
        </pc:graphicFrameChg>
      </pc:sldChg>
      <pc:sldChg chg="modSp mod chgLayout">
        <pc:chgData name="Batuhan Yildiz" userId="90f344fc-4655-4923-aeaf-697bba59c1a7" providerId="ADAL" clId="{2FB92523-1421-4080-B1FA-64199B218F85}" dt="2020-05-19T21:21:02.007" v="61" actId="14100"/>
        <pc:sldMkLst>
          <pc:docMk/>
          <pc:sldMk cId="4093399091" sldId="673"/>
        </pc:sldMkLst>
        <pc:spChg chg="mod ord">
          <ac:chgData name="Batuhan Yildiz" userId="90f344fc-4655-4923-aeaf-697bba59c1a7" providerId="ADAL" clId="{2FB92523-1421-4080-B1FA-64199B218F85}" dt="2020-05-19T21:20:55.473" v="60" actId="700"/>
          <ac:spMkLst>
            <pc:docMk/>
            <pc:sldMk cId="4093399091" sldId="673"/>
            <ac:spMk id="2" creationId="{3C34EE15-1521-4A1D-A515-EEE54DD625C5}"/>
          </ac:spMkLst>
        </pc:spChg>
        <pc:spChg chg="mod ord">
          <ac:chgData name="Batuhan Yildiz" userId="90f344fc-4655-4923-aeaf-697bba59c1a7" providerId="ADAL" clId="{2FB92523-1421-4080-B1FA-64199B218F85}" dt="2020-05-19T21:21:02.007" v="61" actId="14100"/>
          <ac:spMkLst>
            <pc:docMk/>
            <pc:sldMk cId="4093399091" sldId="673"/>
            <ac:spMk id="3" creationId="{79B219FF-6FC4-478C-A631-69B45BFFA9E6}"/>
          </ac:spMkLst>
        </pc:spChg>
      </pc:sldChg>
      <pc:sldChg chg="addSp delSp modSp mod chgLayout">
        <pc:chgData name="Batuhan Yildiz" userId="90f344fc-4655-4923-aeaf-697bba59c1a7" providerId="ADAL" clId="{2FB92523-1421-4080-B1FA-64199B218F85}" dt="2020-05-19T21:22:10.148" v="68" actId="478"/>
        <pc:sldMkLst>
          <pc:docMk/>
          <pc:sldMk cId="2163137392" sldId="675"/>
        </pc:sldMkLst>
        <pc:spChg chg="mod ord">
          <ac:chgData name="Batuhan Yildiz" userId="90f344fc-4655-4923-aeaf-697bba59c1a7" providerId="ADAL" clId="{2FB92523-1421-4080-B1FA-64199B218F85}" dt="2020-05-19T21:21:19.781" v="62" actId="700"/>
          <ac:spMkLst>
            <pc:docMk/>
            <pc:sldMk cId="2163137392" sldId="675"/>
            <ac:spMk id="2" creationId="{3C34EE15-1521-4A1D-A515-EEE54DD625C5}"/>
          </ac:spMkLst>
        </pc:spChg>
        <pc:spChg chg="add del mod ord">
          <ac:chgData name="Batuhan Yildiz" userId="90f344fc-4655-4923-aeaf-697bba59c1a7" providerId="ADAL" clId="{2FB92523-1421-4080-B1FA-64199B218F85}" dt="2020-05-19T21:22:10.148" v="68" actId="478"/>
          <ac:spMkLst>
            <pc:docMk/>
            <pc:sldMk cId="2163137392" sldId="675"/>
            <ac:spMk id="3" creationId="{4BC05F7B-B31B-4A1C-B1A0-56E9C3DCD5E8}"/>
          </ac:spMkLst>
        </pc:spChg>
        <pc:graphicFrameChg chg="mod">
          <ac:chgData name="Batuhan Yildiz" userId="90f344fc-4655-4923-aeaf-697bba59c1a7" providerId="ADAL" clId="{2FB92523-1421-4080-B1FA-64199B218F85}" dt="2020-05-19T21:22:04.609" v="67" actId="14100"/>
          <ac:graphicFrameMkLst>
            <pc:docMk/>
            <pc:sldMk cId="2163137392" sldId="675"/>
            <ac:graphicFrameMk id="4" creationId="{78C7C9F5-B052-432D-8272-895A1D93C49A}"/>
          </ac:graphicFrameMkLst>
        </pc:graphicFrameChg>
      </pc:sldChg>
      <pc:sldChg chg="delSp modSp mod">
        <pc:chgData name="Batuhan Yildiz" userId="90f344fc-4655-4923-aeaf-697bba59c1a7" providerId="ADAL" clId="{2FB92523-1421-4080-B1FA-64199B218F85}" dt="2020-05-19T21:20:09.713" v="56" actId="255"/>
        <pc:sldMkLst>
          <pc:docMk/>
          <pc:sldMk cId="3340101420" sldId="676"/>
        </pc:sldMkLst>
        <pc:spChg chg="del">
          <ac:chgData name="Batuhan Yildiz" userId="90f344fc-4655-4923-aeaf-697bba59c1a7" providerId="ADAL" clId="{2FB92523-1421-4080-B1FA-64199B218F85}" dt="2020-05-19T17:54:45.697" v="0" actId="478"/>
          <ac:spMkLst>
            <pc:docMk/>
            <pc:sldMk cId="3340101420" sldId="676"/>
            <ac:spMk id="3" creationId="{79B219FF-6FC4-478C-A631-69B45BFFA9E6}"/>
          </ac:spMkLst>
        </pc:spChg>
        <pc:graphicFrameChg chg="mod">
          <ac:chgData name="Batuhan Yildiz" userId="90f344fc-4655-4923-aeaf-697bba59c1a7" providerId="ADAL" clId="{2FB92523-1421-4080-B1FA-64199B218F85}" dt="2020-05-19T21:20:09.713" v="56" actId="255"/>
          <ac:graphicFrameMkLst>
            <pc:docMk/>
            <pc:sldMk cId="3340101420" sldId="676"/>
            <ac:graphicFrameMk id="4" creationId="{33D6C512-F71A-49D9-8388-4A4DDA44686E}"/>
          </ac:graphicFrameMkLst>
        </pc:graphicFrameChg>
      </pc:sldChg>
      <pc:sldChg chg="modSp">
        <pc:chgData name="Batuhan Yildiz" userId="90f344fc-4655-4923-aeaf-697bba59c1a7" providerId="ADAL" clId="{2FB92523-1421-4080-B1FA-64199B218F85}" dt="2020-05-19T21:22:33.462" v="70" actId="12100"/>
        <pc:sldMkLst>
          <pc:docMk/>
          <pc:sldMk cId="2682501108" sldId="678"/>
        </pc:sldMkLst>
        <pc:graphicFrameChg chg="mod">
          <ac:chgData name="Batuhan Yildiz" userId="90f344fc-4655-4923-aeaf-697bba59c1a7" providerId="ADAL" clId="{2FB92523-1421-4080-B1FA-64199B218F85}" dt="2020-05-19T21:22:33.462" v="70" actId="12100"/>
          <ac:graphicFrameMkLst>
            <pc:docMk/>
            <pc:sldMk cId="2682501108" sldId="678"/>
            <ac:graphicFrameMk id="6" creationId="{21D94371-F271-4AFA-B2B8-FE9E24E6DE59}"/>
          </ac:graphicFrameMkLst>
        </pc:graphicFrameChg>
      </pc:sldChg>
      <pc:sldChg chg="modSp">
        <pc:chgData name="Batuhan Yildiz" userId="90f344fc-4655-4923-aeaf-697bba59c1a7" providerId="ADAL" clId="{2FB92523-1421-4080-B1FA-64199B218F85}" dt="2020-05-19T21:22:40.445" v="71" actId="12100"/>
        <pc:sldMkLst>
          <pc:docMk/>
          <pc:sldMk cId="1156296422" sldId="679"/>
        </pc:sldMkLst>
        <pc:graphicFrameChg chg="mod">
          <ac:chgData name="Batuhan Yildiz" userId="90f344fc-4655-4923-aeaf-697bba59c1a7" providerId="ADAL" clId="{2FB92523-1421-4080-B1FA-64199B218F85}" dt="2020-05-19T21:22:40.445" v="71" actId="12100"/>
          <ac:graphicFrameMkLst>
            <pc:docMk/>
            <pc:sldMk cId="1156296422" sldId="679"/>
            <ac:graphicFrameMk id="7" creationId="{007F28DE-703B-47A4-8D8A-390E32D952F8}"/>
          </ac:graphicFrameMkLst>
        </pc:graphicFrameChg>
      </pc:sldChg>
      <pc:sldChg chg="modSp">
        <pc:chgData name="Batuhan Yildiz" userId="90f344fc-4655-4923-aeaf-697bba59c1a7" providerId="ADAL" clId="{2FB92523-1421-4080-B1FA-64199B218F85}" dt="2020-05-19T21:22:48.874" v="72" actId="12100"/>
        <pc:sldMkLst>
          <pc:docMk/>
          <pc:sldMk cId="714767087" sldId="680"/>
        </pc:sldMkLst>
        <pc:graphicFrameChg chg="mod">
          <ac:chgData name="Batuhan Yildiz" userId="90f344fc-4655-4923-aeaf-697bba59c1a7" providerId="ADAL" clId="{2FB92523-1421-4080-B1FA-64199B218F85}" dt="2020-05-19T21:22:48.874" v="72" actId="12100"/>
          <ac:graphicFrameMkLst>
            <pc:docMk/>
            <pc:sldMk cId="714767087" sldId="680"/>
            <ac:graphicFrameMk id="9" creationId="{2D9DF789-CABC-4EF4-9B26-088E489815E2}"/>
          </ac:graphicFrameMkLst>
        </pc:graphicFrameChg>
      </pc:sldChg>
      <pc:sldChg chg="modSp">
        <pc:chgData name="Batuhan Yildiz" userId="90f344fc-4655-4923-aeaf-697bba59c1a7" providerId="ADAL" clId="{2FB92523-1421-4080-B1FA-64199B218F85}" dt="2020-05-19T21:22:56.460" v="73" actId="12100"/>
        <pc:sldMkLst>
          <pc:docMk/>
          <pc:sldMk cId="2719980920" sldId="681"/>
        </pc:sldMkLst>
        <pc:graphicFrameChg chg="mod">
          <ac:chgData name="Batuhan Yildiz" userId="90f344fc-4655-4923-aeaf-697bba59c1a7" providerId="ADAL" clId="{2FB92523-1421-4080-B1FA-64199B218F85}" dt="2020-05-19T21:22:56.460" v="73" actId="12100"/>
          <ac:graphicFrameMkLst>
            <pc:docMk/>
            <pc:sldMk cId="2719980920" sldId="681"/>
            <ac:graphicFrameMk id="7" creationId="{222671A8-607B-4EF7-99C9-F99BD41877C5}"/>
          </ac:graphicFrameMkLst>
        </pc:graphicFrameChg>
      </pc:sldChg>
      <pc:sldChg chg="add del">
        <pc:chgData name="Batuhan Yildiz" userId="90f344fc-4655-4923-aeaf-697bba59c1a7" providerId="ADAL" clId="{2FB92523-1421-4080-B1FA-64199B218F85}" dt="2020-05-19T21:02:59.964" v="14"/>
        <pc:sldMkLst>
          <pc:docMk/>
          <pc:sldMk cId="129738390" sldId="683"/>
        </pc:sldMkLst>
      </pc:sldChg>
    </pc:docChg>
  </pc:docChgLst>
</pc:chgInfo>
</file>

<file path=ppt/diagrams/_rels/data3.xml.rels><?xml version="1.0" encoding="UTF-8" standalone="yes"?>
<Relationships xmlns="http://schemas.openxmlformats.org/package/2006/relationships"><Relationship Id="rId3" Type="http://schemas.openxmlformats.org/officeDocument/2006/relationships/hyperlink" Target="https://docs.microsoft.com/en-us/sql/database-engine/deprecated-database-engine-features-in-sql-server-2017?view=sql-server-ver15" TargetMode="External"/><Relationship Id="rId7" Type="http://schemas.openxmlformats.org/officeDocument/2006/relationships/hyperlink" Target="https://msdn.microsoft.com/library/ms144262(v=sql.105)" TargetMode="External"/><Relationship Id="rId2" Type="http://schemas.openxmlformats.org/officeDocument/2006/relationships/hyperlink" Target="https://docs.microsoft.com/en-us/sql/database-engine/deprecated-database-engine-features-in-sql-server-version-15?view=sql-server-ver15" TargetMode="External"/><Relationship Id="rId1" Type="http://schemas.openxmlformats.org/officeDocument/2006/relationships/hyperlink" Target="https://docs.microsoft.com/en-us/azure/sql-database/sql-database-transact-sql-information" TargetMode="External"/><Relationship Id="rId6" Type="http://schemas.openxmlformats.org/officeDocument/2006/relationships/hyperlink" Target="https://msdn.microsoft.com/library/ms144262(v=sql.110)" TargetMode="External"/><Relationship Id="rId5" Type="http://schemas.openxmlformats.org/officeDocument/2006/relationships/hyperlink" Target="https://msdn.microsoft.com/library/ms144262(v=sql.120)" TargetMode="External"/><Relationship Id="rId4" Type="http://schemas.openxmlformats.org/officeDocument/2006/relationships/hyperlink" Target="https://msdn.microsoft.com/library/ms144262(v=sql.130)"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docs.microsoft.com/en-us/sql/database-engine/deprecated-database-engine-features-in-sql-server-2017?view=sql-server-ver15" TargetMode="External"/><Relationship Id="rId7" Type="http://schemas.openxmlformats.org/officeDocument/2006/relationships/hyperlink" Target="https://msdn.microsoft.com/library/ms144262(v=sql.105)" TargetMode="External"/><Relationship Id="rId2" Type="http://schemas.openxmlformats.org/officeDocument/2006/relationships/hyperlink" Target="https://docs.microsoft.com/en-us/sql/database-engine/deprecated-database-engine-features-in-sql-server-version-15?view=sql-server-ver15" TargetMode="External"/><Relationship Id="rId1" Type="http://schemas.openxmlformats.org/officeDocument/2006/relationships/hyperlink" Target="https://docs.microsoft.com/en-us/azure/sql-database/sql-database-transact-sql-information" TargetMode="External"/><Relationship Id="rId6" Type="http://schemas.openxmlformats.org/officeDocument/2006/relationships/hyperlink" Target="https://msdn.microsoft.com/library/ms144262(v=sql.110)" TargetMode="External"/><Relationship Id="rId5" Type="http://schemas.openxmlformats.org/officeDocument/2006/relationships/hyperlink" Target="https://msdn.microsoft.com/library/ms144262(v=sql.120)" TargetMode="External"/><Relationship Id="rId4" Type="http://schemas.openxmlformats.org/officeDocument/2006/relationships/hyperlink" Target="https://msdn.microsoft.com/library/ms144262(v=sql.13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B9F3A8-3231-463E-963C-CD19D978065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C2A24AF-EB36-4856-AD96-5977E5452606}">
      <dgm:prSet/>
      <dgm:spPr/>
      <dgm:t>
        <a:bodyPr/>
        <a:lstStyle/>
        <a:p>
          <a:r>
            <a:rPr lang="en-US" baseline="0"/>
            <a:t>Assess the database</a:t>
          </a:r>
          <a:endParaRPr lang="en-US"/>
        </a:p>
      </dgm:t>
    </dgm:pt>
    <dgm:pt modelId="{194B9DF7-622A-4CC6-BF07-294DE11D987E}" type="parTrans" cxnId="{55070C16-572E-452A-BF04-FA8648FDC1E6}">
      <dgm:prSet/>
      <dgm:spPr/>
      <dgm:t>
        <a:bodyPr/>
        <a:lstStyle/>
        <a:p>
          <a:endParaRPr lang="en-US"/>
        </a:p>
      </dgm:t>
    </dgm:pt>
    <dgm:pt modelId="{2DC6A3AA-D9F0-4DE9-96D9-9042228D0425}" type="sibTrans" cxnId="{55070C16-572E-452A-BF04-FA8648FDC1E6}">
      <dgm:prSet/>
      <dgm:spPr/>
      <dgm:t>
        <a:bodyPr/>
        <a:lstStyle/>
        <a:p>
          <a:endParaRPr lang="en-US"/>
        </a:p>
      </dgm:t>
    </dgm:pt>
    <dgm:pt modelId="{BFA54081-F00A-4162-827C-7178AAFAFD9E}">
      <dgm:prSet/>
      <dgm:spPr/>
      <dgm:t>
        <a:bodyPr/>
        <a:lstStyle/>
        <a:p>
          <a:r>
            <a:rPr lang="en-US" baseline="0"/>
            <a:t>Prepare any necessary fixes as Transact-SQL scripts.</a:t>
          </a:r>
          <a:endParaRPr lang="en-US"/>
        </a:p>
      </dgm:t>
    </dgm:pt>
    <dgm:pt modelId="{1FCAA3DE-F102-4C38-98B7-7229A98D0EC3}" type="parTrans" cxnId="{56740B17-08E8-44F8-953A-3B1F13604489}">
      <dgm:prSet/>
      <dgm:spPr/>
      <dgm:t>
        <a:bodyPr/>
        <a:lstStyle/>
        <a:p>
          <a:endParaRPr lang="en-US"/>
        </a:p>
      </dgm:t>
    </dgm:pt>
    <dgm:pt modelId="{245ABEC3-C421-4CE0-8CF4-A3E3C671CEFD}" type="sibTrans" cxnId="{56740B17-08E8-44F8-953A-3B1F13604489}">
      <dgm:prSet/>
      <dgm:spPr/>
      <dgm:t>
        <a:bodyPr/>
        <a:lstStyle/>
        <a:p>
          <a:endParaRPr lang="en-US"/>
        </a:p>
      </dgm:t>
    </dgm:pt>
    <dgm:pt modelId="{11B30E0D-2D8A-4B44-96D9-B6D7A05E6D6F}">
      <dgm:prSet/>
      <dgm:spPr/>
      <dgm:t>
        <a:bodyPr/>
        <a:lstStyle/>
        <a:p>
          <a:r>
            <a:rPr lang="en-US" baseline="0"/>
            <a:t>Make a transitionally consistent copy of the source database.</a:t>
          </a:r>
          <a:endParaRPr lang="en-US"/>
        </a:p>
      </dgm:t>
    </dgm:pt>
    <dgm:pt modelId="{11D1216D-B500-4D57-8171-5BD31FEC554A}" type="parTrans" cxnId="{B0041D2C-9386-47B6-B678-B712A53245D2}">
      <dgm:prSet/>
      <dgm:spPr/>
      <dgm:t>
        <a:bodyPr/>
        <a:lstStyle/>
        <a:p>
          <a:endParaRPr lang="en-US"/>
        </a:p>
      </dgm:t>
    </dgm:pt>
    <dgm:pt modelId="{446FF628-E308-4D63-9ABB-538C2C0FDD12}" type="sibTrans" cxnId="{B0041D2C-9386-47B6-B678-B712A53245D2}">
      <dgm:prSet/>
      <dgm:spPr/>
      <dgm:t>
        <a:bodyPr/>
        <a:lstStyle/>
        <a:p>
          <a:endParaRPr lang="en-US"/>
        </a:p>
      </dgm:t>
    </dgm:pt>
    <dgm:pt modelId="{27146247-3C5C-411F-8D76-EBEC59A0F997}">
      <dgm:prSet/>
      <dgm:spPr/>
      <dgm:t>
        <a:bodyPr/>
        <a:lstStyle/>
        <a:p>
          <a:r>
            <a:rPr lang="en-US" baseline="0" dirty="0"/>
            <a:t>Deploy the Transact-SQL scripts to apply the fixes to the database copy.</a:t>
          </a:r>
          <a:endParaRPr lang="en-US" dirty="0"/>
        </a:p>
      </dgm:t>
    </dgm:pt>
    <dgm:pt modelId="{70FAD29D-B668-46B9-A114-28C69BE858FD}" type="parTrans" cxnId="{35912BE2-D280-4D64-BCE7-A0FF816C44C7}">
      <dgm:prSet/>
      <dgm:spPr/>
      <dgm:t>
        <a:bodyPr/>
        <a:lstStyle/>
        <a:p>
          <a:endParaRPr lang="en-US"/>
        </a:p>
      </dgm:t>
    </dgm:pt>
    <dgm:pt modelId="{70B348BA-9940-4300-9328-15AFC168A51B}" type="sibTrans" cxnId="{35912BE2-D280-4D64-BCE7-A0FF816C44C7}">
      <dgm:prSet/>
      <dgm:spPr/>
      <dgm:t>
        <a:bodyPr/>
        <a:lstStyle/>
        <a:p>
          <a:endParaRPr lang="en-US"/>
        </a:p>
      </dgm:t>
    </dgm:pt>
    <dgm:pt modelId="{B9F22D25-95BF-4596-AA4D-736D032E8938}">
      <dgm:prSet/>
      <dgm:spPr/>
      <dgm:t>
        <a:bodyPr/>
        <a:lstStyle/>
        <a:p>
          <a:r>
            <a:rPr lang="en-US" baseline="0"/>
            <a:t>Migrate the database copy to a new Azure SQL Database. </a:t>
          </a:r>
          <a:endParaRPr lang="en-US"/>
        </a:p>
      </dgm:t>
    </dgm:pt>
    <dgm:pt modelId="{65F050CE-B088-4623-8F8D-DAADE2C7E34E}" type="parTrans" cxnId="{C57F4B12-17E2-49F5-A089-A92140B5E2D5}">
      <dgm:prSet/>
      <dgm:spPr/>
      <dgm:t>
        <a:bodyPr/>
        <a:lstStyle/>
        <a:p>
          <a:endParaRPr lang="en-US"/>
        </a:p>
      </dgm:t>
    </dgm:pt>
    <dgm:pt modelId="{3D497378-23FD-4D7A-9750-1BB62206E185}" type="sibTrans" cxnId="{C57F4B12-17E2-49F5-A089-A92140B5E2D5}">
      <dgm:prSet/>
      <dgm:spPr/>
      <dgm:t>
        <a:bodyPr/>
        <a:lstStyle/>
        <a:p>
          <a:endParaRPr lang="en-US"/>
        </a:p>
      </dgm:t>
    </dgm:pt>
    <dgm:pt modelId="{2F7B71F4-E39C-41C4-AD32-8047BA7F1ED8}" type="pres">
      <dgm:prSet presAssocID="{30B9F3A8-3231-463E-963C-CD19D9780656}" presName="linear" presStyleCnt="0">
        <dgm:presLayoutVars>
          <dgm:animLvl val="lvl"/>
          <dgm:resizeHandles val="exact"/>
        </dgm:presLayoutVars>
      </dgm:prSet>
      <dgm:spPr/>
    </dgm:pt>
    <dgm:pt modelId="{8CD1FE1D-E287-411F-9901-55DA6132E64E}" type="pres">
      <dgm:prSet presAssocID="{3C2A24AF-EB36-4856-AD96-5977E5452606}" presName="parentText" presStyleLbl="node1" presStyleIdx="0" presStyleCnt="5">
        <dgm:presLayoutVars>
          <dgm:chMax val="0"/>
          <dgm:bulletEnabled val="1"/>
        </dgm:presLayoutVars>
      </dgm:prSet>
      <dgm:spPr/>
    </dgm:pt>
    <dgm:pt modelId="{9651425B-284F-45BB-B426-41E2270DD3C1}" type="pres">
      <dgm:prSet presAssocID="{2DC6A3AA-D9F0-4DE9-96D9-9042228D0425}" presName="spacer" presStyleCnt="0"/>
      <dgm:spPr/>
    </dgm:pt>
    <dgm:pt modelId="{6F2C9590-3F96-4E14-9815-923CACEE8059}" type="pres">
      <dgm:prSet presAssocID="{BFA54081-F00A-4162-827C-7178AAFAFD9E}" presName="parentText" presStyleLbl="node1" presStyleIdx="1" presStyleCnt="5">
        <dgm:presLayoutVars>
          <dgm:chMax val="0"/>
          <dgm:bulletEnabled val="1"/>
        </dgm:presLayoutVars>
      </dgm:prSet>
      <dgm:spPr/>
    </dgm:pt>
    <dgm:pt modelId="{04244A7E-668C-4583-8DE7-75363A62986D}" type="pres">
      <dgm:prSet presAssocID="{245ABEC3-C421-4CE0-8CF4-A3E3C671CEFD}" presName="spacer" presStyleCnt="0"/>
      <dgm:spPr/>
    </dgm:pt>
    <dgm:pt modelId="{6C1FC342-0EC6-4A9D-A337-1FDDA0DAB595}" type="pres">
      <dgm:prSet presAssocID="{11B30E0D-2D8A-4B44-96D9-B6D7A05E6D6F}" presName="parentText" presStyleLbl="node1" presStyleIdx="2" presStyleCnt="5">
        <dgm:presLayoutVars>
          <dgm:chMax val="0"/>
          <dgm:bulletEnabled val="1"/>
        </dgm:presLayoutVars>
      </dgm:prSet>
      <dgm:spPr/>
    </dgm:pt>
    <dgm:pt modelId="{305648C2-5634-4AC5-9EAA-BDD0ADF4BC4C}" type="pres">
      <dgm:prSet presAssocID="{446FF628-E308-4D63-9ABB-538C2C0FDD12}" presName="spacer" presStyleCnt="0"/>
      <dgm:spPr/>
    </dgm:pt>
    <dgm:pt modelId="{E9F86373-308E-4972-8927-7F136DB2E889}" type="pres">
      <dgm:prSet presAssocID="{27146247-3C5C-411F-8D76-EBEC59A0F997}" presName="parentText" presStyleLbl="node1" presStyleIdx="3" presStyleCnt="5">
        <dgm:presLayoutVars>
          <dgm:chMax val="0"/>
          <dgm:bulletEnabled val="1"/>
        </dgm:presLayoutVars>
      </dgm:prSet>
      <dgm:spPr/>
    </dgm:pt>
    <dgm:pt modelId="{66CFC47D-D5C3-45C3-9186-CEBA0EF757A0}" type="pres">
      <dgm:prSet presAssocID="{70B348BA-9940-4300-9328-15AFC168A51B}" presName="spacer" presStyleCnt="0"/>
      <dgm:spPr/>
    </dgm:pt>
    <dgm:pt modelId="{DB43D4DD-76F1-4FAB-BF1C-7C972D1D525F}" type="pres">
      <dgm:prSet presAssocID="{B9F22D25-95BF-4596-AA4D-736D032E8938}" presName="parentText" presStyleLbl="node1" presStyleIdx="4" presStyleCnt="5">
        <dgm:presLayoutVars>
          <dgm:chMax val="0"/>
          <dgm:bulletEnabled val="1"/>
        </dgm:presLayoutVars>
      </dgm:prSet>
      <dgm:spPr/>
    </dgm:pt>
  </dgm:ptLst>
  <dgm:cxnLst>
    <dgm:cxn modelId="{C57F4B12-17E2-49F5-A089-A92140B5E2D5}" srcId="{30B9F3A8-3231-463E-963C-CD19D9780656}" destId="{B9F22D25-95BF-4596-AA4D-736D032E8938}" srcOrd="4" destOrd="0" parTransId="{65F050CE-B088-4623-8F8D-DAADE2C7E34E}" sibTransId="{3D497378-23FD-4D7A-9750-1BB62206E185}"/>
    <dgm:cxn modelId="{55070C16-572E-452A-BF04-FA8648FDC1E6}" srcId="{30B9F3A8-3231-463E-963C-CD19D9780656}" destId="{3C2A24AF-EB36-4856-AD96-5977E5452606}" srcOrd="0" destOrd="0" parTransId="{194B9DF7-622A-4CC6-BF07-294DE11D987E}" sibTransId="{2DC6A3AA-D9F0-4DE9-96D9-9042228D0425}"/>
    <dgm:cxn modelId="{56740B17-08E8-44F8-953A-3B1F13604489}" srcId="{30B9F3A8-3231-463E-963C-CD19D9780656}" destId="{BFA54081-F00A-4162-827C-7178AAFAFD9E}" srcOrd="1" destOrd="0" parTransId="{1FCAA3DE-F102-4C38-98B7-7229A98D0EC3}" sibTransId="{245ABEC3-C421-4CE0-8CF4-A3E3C671CEFD}"/>
    <dgm:cxn modelId="{B0041D2C-9386-47B6-B678-B712A53245D2}" srcId="{30B9F3A8-3231-463E-963C-CD19D9780656}" destId="{11B30E0D-2D8A-4B44-96D9-B6D7A05E6D6F}" srcOrd="2" destOrd="0" parTransId="{11D1216D-B500-4D57-8171-5BD31FEC554A}" sibTransId="{446FF628-E308-4D63-9ABB-538C2C0FDD12}"/>
    <dgm:cxn modelId="{64808E3C-DB23-4E7D-B547-CE89FB3CB8B3}" type="presOf" srcId="{3C2A24AF-EB36-4856-AD96-5977E5452606}" destId="{8CD1FE1D-E287-411F-9901-55DA6132E64E}" srcOrd="0" destOrd="0" presId="urn:microsoft.com/office/officeart/2005/8/layout/vList2"/>
    <dgm:cxn modelId="{1CB9D148-4FBD-4542-BCC1-D2D3D6271CF9}" type="presOf" srcId="{11B30E0D-2D8A-4B44-96D9-B6D7A05E6D6F}" destId="{6C1FC342-0EC6-4A9D-A337-1FDDA0DAB595}" srcOrd="0" destOrd="0" presId="urn:microsoft.com/office/officeart/2005/8/layout/vList2"/>
    <dgm:cxn modelId="{0DEBB678-641A-462A-A1E8-7A52E3D2425E}" type="presOf" srcId="{B9F22D25-95BF-4596-AA4D-736D032E8938}" destId="{DB43D4DD-76F1-4FAB-BF1C-7C972D1D525F}" srcOrd="0" destOrd="0" presId="urn:microsoft.com/office/officeart/2005/8/layout/vList2"/>
    <dgm:cxn modelId="{CCC1F789-044D-412B-AB29-0CFD58C594CF}" type="presOf" srcId="{27146247-3C5C-411F-8D76-EBEC59A0F997}" destId="{E9F86373-308E-4972-8927-7F136DB2E889}" srcOrd="0" destOrd="0" presId="urn:microsoft.com/office/officeart/2005/8/layout/vList2"/>
    <dgm:cxn modelId="{62FB68BA-7BEA-4439-839A-F3F4543062F1}" type="presOf" srcId="{BFA54081-F00A-4162-827C-7178AAFAFD9E}" destId="{6F2C9590-3F96-4E14-9815-923CACEE8059}" srcOrd="0" destOrd="0" presId="urn:microsoft.com/office/officeart/2005/8/layout/vList2"/>
    <dgm:cxn modelId="{60E51ABD-A488-4573-B4AE-B87EBB842652}" type="presOf" srcId="{30B9F3A8-3231-463E-963C-CD19D9780656}" destId="{2F7B71F4-E39C-41C4-AD32-8047BA7F1ED8}" srcOrd="0" destOrd="0" presId="urn:microsoft.com/office/officeart/2005/8/layout/vList2"/>
    <dgm:cxn modelId="{35912BE2-D280-4D64-BCE7-A0FF816C44C7}" srcId="{30B9F3A8-3231-463E-963C-CD19D9780656}" destId="{27146247-3C5C-411F-8D76-EBEC59A0F997}" srcOrd="3" destOrd="0" parTransId="{70FAD29D-B668-46B9-A114-28C69BE858FD}" sibTransId="{70B348BA-9940-4300-9328-15AFC168A51B}"/>
    <dgm:cxn modelId="{A7CFB4CD-7CB6-46E4-8EDC-DE781B1B9B37}" type="presParOf" srcId="{2F7B71F4-E39C-41C4-AD32-8047BA7F1ED8}" destId="{8CD1FE1D-E287-411F-9901-55DA6132E64E}" srcOrd="0" destOrd="0" presId="urn:microsoft.com/office/officeart/2005/8/layout/vList2"/>
    <dgm:cxn modelId="{73A3E3AA-3431-4F1D-A133-4DB946326EFB}" type="presParOf" srcId="{2F7B71F4-E39C-41C4-AD32-8047BA7F1ED8}" destId="{9651425B-284F-45BB-B426-41E2270DD3C1}" srcOrd="1" destOrd="0" presId="urn:microsoft.com/office/officeart/2005/8/layout/vList2"/>
    <dgm:cxn modelId="{CEA93CDC-D5B7-4ABD-975F-611B23BFBE85}" type="presParOf" srcId="{2F7B71F4-E39C-41C4-AD32-8047BA7F1ED8}" destId="{6F2C9590-3F96-4E14-9815-923CACEE8059}" srcOrd="2" destOrd="0" presId="urn:microsoft.com/office/officeart/2005/8/layout/vList2"/>
    <dgm:cxn modelId="{37A2CD6C-5268-44A7-ABCE-DC114807CA5A}" type="presParOf" srcId="{2F7B71F4-E39C-41C4-AD32-8047BA7F1ED8}" destId="{04244A7E-668C-4583-8DE7-75363A62986D}" srcOrd="3" destOrd="0" presId="urn:microsoft.com/office/officeart/2005/8/layout/vList2"/>
    <dgm:cxn modelId="{2461DCA8-D2B6-4F96-ABC8-C675FC692DE6}" type="presParOf" srcId="{2F7B71F4-E39C-41C4-AD32-8047BA7F1ED8}" destId="{6C1FC342-0EC6-4A9D-A337-1FDDA0DAB595}" srcOrd="4" destOrd="0" presId="urn:microsoft.com/office/officeart/2005/8/layout/vList2"/>
    <dgm:cxn modelId="{04020754-3593-40C3-AD8B-B0A8E4771DA1}" type="presParOf" srcId="{2F7B71F4-E39C-41C4-AD32-8047BA7F1ED8}" destId="{305648C2-5634-4AC5-9EAA-BDD0ADF4BC4C}" srcOrd="5" destOrd="0" presId="urn:microsoft.com/office/officeart/2005/8/layout/vList2"/>
    <dgm:cxn modelId="{72F3572D-77B6-4445-823E-48E97E737DCB}" type="presParOf" srcId="{2F7B71F4-E39C-41C4-AD32-8047BA7F1ED8}" destId="{E9F86373-308E-4972-8927-7F136DB2E889}" srcOrd="6" destOrd="0" presId="urn:microsoft.com/office/officeart/2005/8/layout/vList2"/>
    <dgm:cxn modelId="{12A8B07B-E061-45F2-A120-A99B634ADA00}" type="presParOf" srcId="{2F7B71F4-E39C-41C4-AD32-8047BA7F1ED8}" destId="{66CFC47D-D5C3-45C3-9186-CEBA0EF757A0}" srcOrd="7" destOrd="0" presId="urn:microsoft.com/office/officeart/2005/8/layout/vList2"/>
    <dgm:cxn modelId="{CC4508EC-3F04-4327-92C3-D5A294E25823}" type="presParOf" srcId="{2F7B71F4-E39C-41C4-AD32-8047BA7F1ED8}" destId="{DB43D4DD-76F1-4FAB-BF1C-7C972D1D525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829870-8CBC-49B4-83E2-DCA3FCE22C9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9CDE169-92E8-4BEB-9BA6-007E7D907C25}">
      <dgm:prSet/>
      <dgm:spPr/>
      <dgm:t>
        <a:bodyPr/>
        <a:lstStyle/>
        <a:p>
          <a:r>
            <a:rPr lang="en-US" baseline="0" dirty="0"/>
            <a:t>Register the resource provider.</a:t>
          </a:r>
          <a:endParaRPr lang="en-US" dirty="0"/>
        </a:p>
      </dgm:t>
    </dgm:pt>
    <dgm:pt modelId="{071537EE-ACF2-473F-AED8-96EA37FF7811}" type="parTrans" cxnId="{4EC3ECF9-C413-4B0E-B3BD-DBF09A313AA8}">
      <dgm:prSet/>
      <dgm:spPr/>
      <dgm:t>
        <a:bodyPr/>
        <a:lstStyle/>
        <a:p>
          <a:endParaRPr lang="en-US"/>
        </a:p>
      </dgm:t>
    </dgm:pt>
    <dgm:pt modelId="{7984D53A-47C9-42E9-B52F-6F1F2AF0888C}" type="sibTrans" cxnId="{4EC3ECF9-C413-4B0E-B3BD-DBF09A313AA8}">
      <dgm:prSet/>
      <dgm:spPr/>
      <dgm:t>
        <a:bodyPr/>
        <a:lstStyle/>
        <a:p>
          <a:endParaRPr lang="en-US"/>
        </a:p>
      </dgm:t>
    </dgm:pt>
    <dgm:pt modelId="{4E1CF76D-787E-41BE-8F19-59BA39A50AC3}">
      <dgm:prSet/>
      <dgm:spPr/>
      <dgm:t>
        <a:bodyPr/>
        <a:lstStyle/>
        <a:p>
          <a:r>
            <a:rPr lang="en-US" baseline="0" dirty="0"/>
            <a:t>Create an instance of the service.</a:t>
          </a:r>
          <a:endParaRPr lang="en-US" dirty="0"/>
        </a:p>
      </dgm:t>
    </dgm:pt>
    <dgm:pt modelId="{CD64466F-0820-40DB-8015-9AECEA1E9F7D}" type="parTrans" cxnId="{8CA72208-32F5-43AD-9661-2230B1F4EADC}">
      <dgm:prSet/>
      <dgm:spPr/>
      <dgm:t>
        <a:bodyPr/>
        <a:lstStyle/>
        <a:p>
          <a:endParaRPr lang="en-US"/>
        </a:p>
      </dgm:t>
    </dgm:pt>
    <dgm:pt modelId="{BEC077D6-4436-451A-95C7-A897C7477C15}" type="sibTrans" cxnId="{8CA72208-32F5-43AD-9661-2230B1F4EADC}">
      <dgm:prSet/>
      <dgm:spPr/>
      <dgm:t>
        <a:bodyPr/>
        <a:lstStyle/>
        <a:p>
          <a:endParaRPr lang="en-US"/>
        </a:p>
      </dgm:t>
    </dgm:pt>
    <dgm:pt modelId="{D22CFBDE-2E41-435C-AE39-B1AD09DB23ED}">
      <dgm:prSet/>
      <dgm:spPr/>
      <dgm:t>
        <a:bodyPr/>
        <a:lstStyle/>
        <a:p>
          <a:r>
            <a:rPr lang="en-US" baseline="0"/>
            <a:t>Assess your on-premises database.</a:t>
          </a:r>
          <a:endParaRPr lang="en-US"/>
        </a:p>
      </dgm:t>
    </dgm:pt>
    <dgm:pt modelId="{ED14B2CA-B62D-49D7-8BC1-54B3683C494D}" type="parTrans" cxnId="{F8737AEB-708C-4DB9-977D-5940F2EECE1E}">
      <dgm:prSet/>
      <dgm:spPr/>
      <dgm:t>
        <a:bodyPr/>
        <a:lstStyle/>
        <a:p>
          <a:endParaRPr lang="en-US"/>
        </a:p>
      </dgm:t>
    </dgm:pt>
    <dgm:pt modelId="{4DCB66B7-585D-41DE-BBEE-074F1B06C887}" type="sibTrans" cxnId="{F8737AEB-708C-4DB9-977D-5940F2EECE1E}">
      <dgm:prSet/>
      <dgm:spPr/>
      <dgm:t>
        <a:bodyPr/>
        <a:lstStyle/>
        <a:p>
          <a:endParaRPr lang="en-US"/>
        </a:p>
      </dgm:t>
    </dgm:pt>
    <dgm:pt modelId="{B161F711-EE31-48A9-8061-3FEA3AE51D0B}">
      <dgm:prSet/>
      <dgm:spPr/>
      <dgm:t>
        <a:bodyPr/>
        <a:lstStyle/>
        <a:p>
          <a:r>
            <a:rPr lang="en-US" baseline="0"/>
            <a:t>Migrate the sample schema.</a:t>
          </a:r>
          <a:endParaRPr lang="en-US"/>
        </a:p>
      </dgm:t>
    </dgm:pt>
    <dgm:pt modelId="{681F022A-ECFF-4DD3-90FE-7B33B9F423CE}" type="parTrans" cxnId="{EE583647-45F8-4ED6-B865-95FB4E1B1147}">
      <dgm:prSet/>
      <dgm:spPr/>
      <dgm:t>
        <a:bodyPr/>
        <a:lstStyle/>
        <a:p>
          <a:endParaRPr lang="en-US"/>
        </a:p>
      </dgm:t>
    </dgm:pt>
    <dgm:pt modelId="{5B505317-C386-4555-AEC0-0880EA245D07}" type="sibTrans" cxnId="{EE583647-45F8-4ED6-B865-95FB4E1B1147}">
      <dgm:prSet/>
      <dgm:spPr/>
      <dgm:t>
        <a:bodyPr/>
        <a:lstStyle/>
        <a:p>
          <a:endParaRPr lang="en-US"/>
        </a:p>
      </dgm:t>
    </dgm:pt>
    <dgm:pt modelId="{9AE4F3DE-F0EC-4E05-8651-D962D72DB07B}">
      <dgm:prSet/>
      <dgm:spPr/>
      <dgm:t>
        <a:bodyPr/>
        <a:lstStyle/>
        <a:p>
          <a:r>
            <a:rPr lang="en-US" baseline="0"/>
            <a:t>Create a Migration Project.</a:t>
          </a:r>
          <a:endParaRPr lang="en-US"/>
        </a:p>
      </dgm:t>
    </dgm:pt>
    <dgm:pt modelId="{63331BF8-0B27-4F0B-A65D-34479BF41961}" type="parTrans" cxnId="{329CD657-900A-48AD-9ABC-85AF6ADDE6B1}">
      <dgm:prSet/>
      <dgm:spPr/>
      <dgm:t>
        <a:bodyPr/>
        <a:lstStyle/>
        <a:p>
          <a:endParaRPr lang="en-US"/>
        </a:p>
      </dgm:t>
    </dgm:pt>
    <dgm:pt modelId="{7468B9B5-F45A-4B80-8A85-5784DA9ABED1}" type="sibTrans" cxnId="{329CD657-900A-48AD-9ABC-85AF6ADDE6B1}">
      <dgm:prSet/>
      <dgm:spPr/>
      <dgm:t>
        <a:bodyPr/>
        <a:lstStyle/>
        <a:p>
          <a:endParaRPr lang="en-US"/>
        </a:p>
      </dgm:t>
    </dgm:pt>
    <dgm:pt modelId="{734A2D12-3655-4A29-827A-864145B2840F}">
      <dgm:prSet/>
      <dgm:spPr/>
      <dgm:t>
        <a:bodyPr/>
        <a:lstStyle/>
        <a:p>
          <a:r>
            <a:rPr lang="en-US" baseline="0"/>
            <a:t>Specify Source Details.</a:t>
          </a:r>
          <a:endParaRPr lang="en-US"/>
        </a:p>
      </dgm:t>
    </dgm:pt>
    <dgm:pt modelId="{B9718F94-E6FA-45B6-8E5B-61A35E752224}" type="parTrans" cxnId="{123B658B-C665-4055-A482-73FC2DACBD3D}">
      <dgm:prSet/>
      <dgm:spPr/>
      <dgm:t>
        <a:bodyPr/>
        <a:lstStyle/>
        <a:p>
          <a:endParaRPr lang="en-US"/>
        </a:p>
      </dgm:t>
    </dgm:pt>
    <dgm:pt modelId="{36377525-8825-4530-AB56-673F3224F76E}" type="sibTrans" cxnId="{123B658B-C665-4055-A482-73FC2DACBD3D}">
      <dgm:prSet/>
      <dgm:spPr/>
      <dgm:t>
        <a:bodyPr/>
        <a:lstStyle/>
        <a:p>
          <a:endParaRPr lang="en-US"/>
        </a:p>
      </dgm:t>
    </dgm:pt>
    <dgm:pt modelId="{C30C40AD-9765-48F4-83E4-6838119D6161}" type="pres">
      <dgm:prSet presAssocID="{6D829870-8CBC-49B4-83E2-DCA3FCE22C94}" presName="linear" presStyleCnt="0">
        <dgm:presLayoutVars>
          <dgm:animLvl val="lvl"/>
          <dgm:resizeHandles val="exact"/>
        </dgm:presLayoutVars>
      </dgm:prSet>
      <dgm:spPr/>
    </dgm:pt>
    <dgm:pt modelId="{19705F92-91BF-4494-884A-AAD4956A53A1}" type="pres">
      <dgm:prSet presAssocID="{79CDE169-92E8-4BEB-9BA6-007E7D907C25}" presName="parentText" presStyleLbl="node1" presStyleIdx="0" presStyleCnt="6" custScaleX="100000" custScaleY="146410">
        <dgm:presLayoutVars>
          <dgm:chMax val="0"/>
          <dgm:bulletEnabled val="1"/>
        </dgm:presLayoutVars>
      </dgm:prSet>
      <dgm:spPr/>
    </dgm:pt>
    <dgm:pt modelId="{9BA04E09-A049-4B5B-BE17-8FCE8A440355}" type="pres">
      <dgm:prSet presAssocID="{7984D53A-47C9-42E9-B52F-6F1F2AF0888C}" presName="spacer" presStyleCnt="0"/>
      <dgm:spPr/>
    </dgm:pt>
    <dgm:pt modelId="{B04F5AE9-19ED-4530-840A-2DB594A7CB76}" type="pres">
      <dgm:prSet presAssocID="{4E1CF76D-787E-41BE-8F19-59BA39A50AC3}" presName="parentText" presStyleLbl="node1" presStyleIdx="1" presStyleCnt="6" custScaleX="100000" custScaleY="146410">
        <dgm:presLayoutVars>
          <dgm:chMax val="0"/>
          <dgm:bulletEnabled val="1"/>
        </dgm:presLayoutVars>
      </dgm:prSet>
      <dgm:spPr/>
    </dgm:pt>
    <dgm:pt modelId="{67517BBF-CCC3-4853-9010-9F08A18E21D0}" type="pres">
      <dgm:prSet presAssocID="{BEC077D6-4436-451A-95C7-A897C7477C15}" presName="spacer" presStyleCnt="0"/>
      <dgm:spPr/>
    </dgm:pt>
    <dgm:pt modelId="{5FFCAB49-3603-4B10-B011-BD1BB1F5D1AD}" type="pres">
      <dgm:prSet presAssocID="{D22CFBDE-2E41-435C-AE39-B1AD09DB23ED}" presName="parentText" presStyleLbl="node1" presStyleIdx="2" presStyleCnt="6" custScaleX="100000" custScaleY="146410">
        <dgm:presLayoutVars>
          <dgm:chMax val="0"/>
          <dgm:bulletEnabled val="1"/>
        </dgm:presLayoutVars>
      </dgm:prSet>
      <dgm:spPr/>
    </dgm:pt>
    <dgm:pt modelId="{62AB9DF2-4636-4D5D-9571-E61B85366ED9}" type="pres">
      <dgm:prSet presAssocID="{4DCB66B7-585D-41DE-BBEE-074F1B06C887}" presName="spacer" presStyleCnt="0"/>
      <dgm:spPr/>
    </dgm:pt>
    <dgm:pt modelId="{61A5D2A2-F5C0-425E-BF4D-5E5771882232}" type="pres">
      <dgm:prSet presAssocID="{B161F711-EE31-48A9-8061-3FEA3AE51D0B}" presName="parentText" presStyleLbl="node1" presStyleIdx="3" presStyleCnt="6" custScaleX="100000" custScaleY="146410">
        <dgm:presLayoutVars>
          <dgm:chMax val="0"/>
          <dgm:bulletEnabled val="1"/>
        </dgm:presLayoutVars>
      </dgm:prSet>
      <dgm:spPr/>
    </dgm:pt>
    <dgm:pt modelId="{B82993FE-AB06-487A-945E-2BB1065F442C}" type="pres">
      <dgm:prSet presAssocID="{5B505317-C386-4555-AEC0-0880EA245D07}" presName="spacer" presStyleCnt="0"/>
      <dgm:spPr/>
    </dgm:pt>
    <dgm:pt modelId="{FE3EA1E7-E90A-4216-A84D-F96FF169D6B1}" type="pres">
      <dgm:prSet presAssocID="{9AE4F3DE-F0EC-4E05-8651-D962D72DB07B}" presName="parentText" presStyleLbl="node1" presStyleIdx="4" presStyleCnt="6" custScaleX="100000" custScaleY="146410">
        <dgm:presLayoutVars>
          <dgm:chMax val="0"/>
          <dgm:bulletEnabled val="1"/>
        </dgm:presLayoutVars>
      </dgm:prSet>
      <dgm:spPr/>
    </dgm:pt>
    <dgm:pt modelId="{AA4CD43F-8B10-40EB-9BAB-72EF57A783C8}" type="pres">
      <dgm:prSet presAssocID="{7468B9B5-F45A-4B80-8A85-5784DA9ABED1}" presName="spacer" presStyleCnt="0"/>
      <dgm:spPr/>
    </dgm:pt>
    <dgm:pt modelId="{6CB37123-AE97-4D02-AA99-30E74B8F71F6}" type="pres">
      <dgm:prSet presAssocID="{734A2D12-3655-4A29-827A-864145B2840F}" presName="parentText" presStyleLbl="node1" presStyleIdx="5" presStyleCnt="6" custScaleX="100000" custScaleY="146410">
        <dgm:presLayoutVars>
          <dgm:chMax val="0"/>
          <dgm:bulletEnabled val="1"/>
        </dgm:presLayoutVars>
      </dgm:prSet>
      <dgm:spPr/>
    </dgm:pt>
  </dgm:ptLst>
  <dgm:cxnLst>
    <dgm:cxn modelId="{8CA72208-32F5-43AD-9661-2230B1F4EADC}" srcId="{6D829870-8CBC-49B4-83E2-DCA3FCE22C94}" destId="{4E1CF76D-787E-41BE-8F19-59BA39A50AC3}" srcOrd="1" destOrd="0" parTransId="{CD64466F-0820-40DB-8015-9AECEA1E9F7D}" sibTransId="{BEC077D6-4436-451A-95C7-A897C7477C15}"/>
    <dgm:cxn modelId="{6D986635-EE81-488C-976A-C44BA0078CB7}" type="presOf" srcId="{734A2D12-3655-4A29-827A-864145B2840F}" destId="{6CB37123-AE97-4D02-AA99-30E74B8F71F6}" srcOrd="0" destOrd="0" presId="urn:microsoft.com/office/officeart/2005/8/layout/vList2"/>
    <dgm:cxn modelId="{EE583647-45F8-4ED6-B865-95FB4E1B1147}" srcId="{6D829870-8CBC-49B4-83E2-DCA3FCE22C94}" destId="{B161F711-EE31-48A9-8061-3FEA3AE51D0B}" srcOrd="3" destOrd="0" parTransId="{681F022A-ECFF-4DD3-90FE-7B33B9F423CE}" sibTransId="{5B505317-C386-4555-AEC0-0880EA245D07}"/>
    <dgm:cxn modelId="{329CD657-900A-48AD-9ABC-85AF6ADDE6B1}" srcId="{6D829870-8CBC-49B4-83E2-DCA3FCE22C94}" destId="{9AE4F3DE-F0EC-4E05-8651-D962D72DB07B}" srcOrd="4" destOrd="0" parTransId="{63331BF8-0B27-4F0B-A65D-34479BF41961}" sibTransId="{7468B9B5-F45A-4B80-8A85-5784DA9ABED1}"/>
    <dgm:cxn modelId="{AC7A1F78-E99A-454B-BDBF-2D34BF40E8B9}" type="presOf" srcId="{B161F711-EE31-48A9-8061-3FEA3AE51D0B}" destId="{61A5D2A2-F5C0-425E-BF4D-5E5771882232}" srcOrd="0" destOrd="0" presId="urn:microsoft.com/office/officeart/2005/8/layout/vList2"/>
    <dgm:cxn modelId="{123B658B-C665-4055-A482-73FC2DACBD3D}" srcId="{6D829870-8CBC-49B4-83E2-DCA3FCE22C94}" destId="{734A2D12-3655-4A29-827A-864145B2840F}" srcOrd="5" destOrd="0" parTransId="{B9718F94-E6FA-45B6-8E5B-61A35E752224}" sibTransId="{36377525-8825-4530-AB56-673F3224F76E}"/>
    <dgm:cxn modelId="{F397069D-4ED3-4B59-AE1C-8CCC63C9354A}" type="presOf" srcId="{4E1CF76D-787E-41BE-8F19-59BA39A50AC3}" destId="{B04F5AE9-19ED-4530-840A-2DB594A7CB76}" srcOrd="0" destOrd="0" presId="urn:microsoft.com/office/officeart/2005/8/layout/vList2"/>
    <dgm:cxn modelId="{4C18109D-242F-42E4-BD57-1050A87DD9C7}" type="presOf" srcId="{D22CFBDE-2E41-435C-AE39-B1AD09DB23ED}" destId="{5FFCAB49-3603-4B10-B011-BD1BB1F5D1AD}" srcOrd="0" destOrd="0" presId="urn:microsoft.com/office/officeart/2005/8/layout/vList2"/>
    <dgm:cxn modelId="{981F8DAF-A150-4087-9C35-B4DCF08AD0E6}" type="presOf" srcId="{6D829870-8CBC-49B4-83E2-DCA3FCE22C94}" destId="{C30C40AD-9765-48F4-83E4-6838119D6161}" srcOrd="0" destOrd="0" presId="urn:microsoft.com/office/officeart/2005/8/layout/vList2"/>
    <dgm:cxn modelId="{112694BD-7F16-4EDE-B76F-72C536AA07CA}" type="presOf" srcId="{79CDE169-92E8-4BEB-9BA6-007E7D907C25}" destId="{19705F92-91BF-4494-884A-AAD4956A53A1}" srcOrd="0" destOrd="0" presId="urn:microsoft.com/office/officeart/2005/8/layout/vList2"/>
    <dgm:cxn modelId="{60D114EB-12C3-41C0-AE3A-85B433FDF90A}" type="presOf" srcId="{9AE4F3DE-F0EC-4E05-8651-D962D72DB07B}" destId="{FE3EA1E7-E90A-4216-A84D-F96FF169D6B1}" srcOrd="0" destOrd="0" presId="urn:microsoft.com/office/officeart/2005/8/layout/vList2"/>
    <dgm:cxn modelId="{F8737AEB-708C-4DB9-977D-5940F2EECE1E}" srcId="{6D829870-8CBC-49B4-83E2-DCA3FCE22C94}" destId="{D22CFBDE-2E41-435C-AE39-B1AD09DB23ED}" srcOrd="2" destOrd="0" parTransId="{ED14B2CA-B62D-49D7-8BC1-54B3683C494D}" sibTransId="{4DCB66B7-585D-41DE-BBEE-074F1B06C887}"/>
    <dgm:cxn modelId="{4EC3ECF9-C413-4B0E-B3BD-DBF09A313AA8}" srcId="{6D829870-8CBC-49B4-83E2-DCA3FCE22C94}" destId="{79CDE169-92E8-4BEB-9BA6-007E7D907C25}" srcOrd="0" destOrd="0" parTransId="{071537EE-ACF2-473F-AED8-96EA37FF7811}" sibTransId="{7984D53A-47C9-42E9-B52F-6F1F2AF0888C}"/>
    <dgm:cxn modelId="{B718A7AC-917E-4856-9D83-BF0935CC8703}" type="presParOf" srcId="{C30C40AD-9765-48F4-83E4-6838119D6161}" destId="{19705F92-91BF-4494-884A-AAD4956A53A1}" srcOrd="0" destOrd="0" presId="urn:microsoft.com/office/officeart/2005/8/layout/vList2"/>
    <dgm:cxn modelId="{C7DE9ABB-B53E-4EB4-AA79-2606DD65797D}" type="presParOf" srcId="{C30C40AD-9765-48F4-83E4-6838119D6161}" destId="{9BA04E09-A049-4B5B-BE17-8FCE8A440355}" srcOrd="1" destOrd="0" presId="urn:microsoft.com/office/officeart/2005/8/layout/vList2"/>
    <dgm:cxn modelId="{6089B0A2-D899-4DB6-B9C0-85A57AE27983}" type="presParOf" srcId="{C30C40AD-9765-48F4-83E4-6838119D6161}" destId="{B04F5AE9-19ED-4530-840A-2DB594A7CB76}" srcOrd="2" destOrd="0" presId="urn:microsoft.com/office/officeart/2005/8/layout/vList2"/>
    <dgm:cxn modelId="{EA764D6F-1808-4A56-B0EB-375D2D16C622}" type="presParOf" srcId="{C30C40AD-9765-48F4-83E4-6838119D6161}" destId="{67517BBF-CCC3-4853-9010-9F08A18E21D0}" srcOrd="3" destOrd="0" presId="urn:microsoft.com/office/officeart/2005/8/layout/vList2"/>
    <dgm:cxn modelId="{4A9EF191-5796-48A1-9041-3BBA9845015D}" type="presParOf" srcId="{C30C40AD-9765-48F4-83E4-6838119D6161}" destId="{5FFCAB49-3603-4B10-B011-BD1BB1F5D1AD}" srcOrd="4" destOrd="0" presId="urn:microsoft.com/office/officeart/2005/8/layout/vList2"/>
    <dgm:cxn modelId="{297A776A-A10C-4BDD-9F70-BD5A68C78335}" type="presParOf" srcId="{C30C40AD-9765-48F4-83E4-6838119D6161}" destId="{62AB9DF2-4636-4D5D-9571-E61B85366ED9}" srcOrd="5" destOrd="0" presId="urn:microsoft.com/office/officeart/2005/8/layout/vList2"/>
    <dgm:cxn modelId="{2F27AAE7-BEDF-4046-BC1A-EB435DF3F9FF}" type="presParOf" srcId="{C30C40AD-9765-48F4-83E4-6838119D6161}" destId="{61A5D2A2-F5C0-425E-BF4D-5E5771882232}" srcOrd="6" destOrd="0" presId="urn:microsoft.com/office/officeart/2005/8/layout/vList2"/>
    <dgm:cxn modelId="{1C6200CA-AC05-4F31-A047-77D7FB1F8FD2}" type="presParOf" srcId="{C30C40AD-9765-48F4-83E4-6838119D6161}" destId="{B82993FE-AB06-487A-945E-2BB1065F442C}" srcOrd="7" destOrd="0" presId="urn:microsoft.com/office/officeart/2005/8/layout/vList2"/>
    <dgm:cxn modelId="{42920A4F-B1F9-45CD-8110-5E99DB043DC6}" type="presParOf" srcId="{C30C40AD-9765-48F4-83E4-6838119D6161}" destId="{FE3EA1E7-E90A-4216-A84D-F96FF169D6B1}" srcOrd="8" destOrd="0" presId="urn:microsoft.com/office/officeart/2005/8/layout/vList2"/>
    <dgm:cxn modelId="{65C99164-1466-48DC-AF76-897912C9C942}" type="presParOf" srcId="{C30C40AD-9765-48F4-83E4-6838119D6161}" destId="{AA4CD43F-8B10-40EB-9BAB-72EF57A783C8}" srcOrd="9" destOrd="0" presId="urn:microsoft.com/office/officeart/2005/8/layout/vList2"/>
    <dgm:cxn modelId="{01CC806B-4588-40D4-A994-8EE12636FAC8}" type="presParOf" srcId="{C30C40AD-9765-48F4-83E4-6838119D6161}" destId="{6CB37123-AE97-4D02-AA99-30E74B8F71F6}"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0F3024F-36AB-4B1B-AB9D-D0CDF250504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E729AFD-91E0-47A7-907B-700EA15710AE}">
      <dgm:prSet/>
      <dgm:spPr/>
      <dgm:t>
        <a:bodyPr/>
        <a:lstStyle/>
        <a:p>
          <a:r>
            <a:rPr lang="en-US" baseline="0"/>
            <a:t>Specify Target Details</a:t>
          </a:r>
          <a:endParaRPr lang="en-US"/>
        </a:p>
      </dgm:t>
    </dgm:pt>
    <dgm:pt modelId="{17B1F7E4-9004-4367-9416-900F7B53F9D1}" type="parTrans" cxnId="{D50BA246-E3B6-4B53-92A3-6D5E75057402}">
      <dgm:prSet/>
      <dgm:spPr/>
      <dgm:t>
        <a:bodyPr/>
        <a:lstStyle/>
        <a:p>
          <a:endParaRPr lang="en-US"/>
        </a:p>
      </dgm:t>
    </dgm:pt>
    <dgm:pt modelId="{7470118A-8CC7-466B-82EA-0C60D1E51353}" type="sibTrans" cxnId="{D50BA246-E3B6-4B53-92A3-6D5E75057402}">
      <dgm:prSet/>
      <dgm:spPr/>
      <dgm:t>
        <a:bodyPr/>
        <a:lstStyle/>
        <a:p>
          <a:endParaRPr lang="en-US"/>
        </a:p>
      </dgm:t>
    </dgm:pt>
    <dgm:pt modelId="{569137E7-7B2D-47F9-926E-2B7AFD80383F}">
      <dgm:prSet/>
      <dgm:spPr/>
      <dgm:t>
        <a:bodyPr/>
        <a:lstStyle/>
        <a:p>
          <a:r>
            <a:rPr lang="en-US" baseline="0"/>
            <a:t>Map to Target Databases</a:t>
          </a:r>
          <a:endParaRPr lang="en-US"/>
        </a:p>
      </dgm:t>
    </dgm:pt>
    <dgm:pt modelId="{0C50BDE2-BEE3-4EED-AB4F-52DC164D5CD8}" type="parTrans" cxnId="{43BAF8C2-26EA-487A-9D60-ACDE424BDDE8}">
      <dgm:prSet/>
      <dgm:spPr/>
      <dgm:t>
        <a:bodyPr/>
        <a:lstStyle/>
        <a:p>
          <a:endParaRPr lang="en-US"/>
        </a:p>
      </dgm:t>
    </dgm:pt>
    <dgm:pt modelId="{531606FE-FD93-4103-BBBF-AF297D46A87E}" type="sibTrans" cxnId="{43BAF8C2-26EA-487A-9D60-ACDE424BDDE8}">
      <dgm:prSet/>
      <dgm:spPr/>
      <dgm:t>
        <a:bodyPr/>
        <a:lstStyle/>
        <a:p>
          <a:endParaRPr lang="en-US"/>
        </a:p>
      </dgm:t>
    </dgm:pt>
    <dgm:pt modelId="{8407D515-8979-4C82-A19F-C7BB37B85626}">
      <dgm:prSet/>
      <dgm:spPr/>
      <dgm:t>
        <a:bodyPr/>
        <a:lstStyle/>
        <a:p>
          <a:r>
            <a:rPr lang="en-US" baseline="0"/>
            <a:t>Choose validation Option</a:t>
          </a:r>
          <a:endParaRPr lang="en-US"/>
        </a:p>
      </dgm:t>
    </dgm:pt>
    <dgm:pt modelId="{A24061F7-8558-4DB8-952F-F8CE71ECA0ED}" type="parTrans" cxnId="{CC4A6735-CA83-4E58-AC8C-407FBFFCB624}">
      <dgm:prSet/>
      <dgm:spPr/>
      <dgm:t>
        <a:bodyPr/>
        <a:lstStyle/>
        <a:p>
          <a:endParaRPr lang="en-US"/>
        </a:p>
      </dgm:t>
    </dgm:pt>
    <dgm:pt modelId="{510B3F9F-D6E2-4B1C-BB8E-E334499229BD}" type="sibTrans" cxnId="{CC4A6735-CA83-4E58-AC8C-407FBFFCB624}">
      <dgm:prSet/>
      <dgm:spPr/>
      <dgm:t>
        <a:bodyPr/>
        <a:lstStyle/>
        <a:p>
          <a:endParaRPr lang="en-US"/>
        </a:p>
      </dgm:t>
    </dgm:pt>
    <dgm:pt modelId="{E1127361-F022-4E3E-81C7-325C34B24B72}">
      <dgm:prSet/>
      <dgm:spPr/>
      <dgm:t>
        <a:bodyPr/>
        <a:lstStyle/>
        <a:p>
          <a:r>
            <a:rPr lang="en-US" baseline="0"/>
            <a:t>Run the Migration</a:t>
          </a:r>
          <a:endParaRPr lang="en-US"/>
        </a:p>
      </dgm:t>
    </dgm:pt>
    <dgm:pt modelId="{C58D8D95-A355-4F02-9BBA-69666B816F15}" type="parTrans" cxnId="{CB427343-EF99-4333-BE6D-FA39A6CB9C69}">
      <dgm:prSet/>
      <dgm:spPr/>
      <dgm:t>
        <a:bodyPr/>
        <a:lstStyle/>
        <a:p>
          <a:endParaRPr lang="en-US"/>
        </a:p>
      </dgm:t>
    </dgm:pt>
    <dgm:pt modelId="{17017418-8F78-4127-812C-772C12F83448}" type="sibTrans" cxnId="{CB427343-EF99-4333-BE6D-FA39A6CB9C69}">
      <dgm:prSet/>
      <dgm:spPr/>
      <dgm:t>
        <a:bodyPr/>
        <a:lstStyle/>
        <a:p>
          <a:endParaRPr lang="en-US"/>
        </a:p>
      </dgm:t>
    </dgm:pt>
    <dgm:pt modelId="{8DB6BBB3-D5E8-4A8D-B30F-BCFF42B0D6F4}">
      <dgm:prSet/>
      <dgm:spPr/>
      <dgm:t>
        <a:bodyPr/>
        <a:lstStyle/>
        <a:p>
          <a:r>
            <a:rPr lang="en-US" baseline="0"/>
            <a:t>Monitor the Migration</a:t>
          </a:r>
          <a:endParaRPr lang="en-US"/>
        </a:p>
      </dgm:t>
    </dgm:pt>
    <dgm:pt modelId="{6ADFE794-947F-4C53-8BCD-69DFCA852FB4}" type="parTrans" cxnId="{4071123B-487F-4EFF-AEB5-3AE3838030ED}">
      <dgm:prSet/>
      <dgm:spPr/>
      <dgm:t>
        <a:bodyPr/>
        <a:lstStyle/>
        <a:p>
          <a:endParaRPr lang="en-US"/>
        </a:p>
      </dgm:t>
    </dgm:pt>
    <dgm:pt modelId="{9B460778-DAF6-432E-8262-31C461D0C923}" type="sibTrans" cxnId="{4071123B-487F-4EFF-AEB5-3AE3838030ED}">
      <dgm:prSet/>
      <dgm:spPr/>
      <dgm:t>
        <a:bodyPr/>
        <a:lstStyle/>
        <a:p>
          <a:endParaRPr lang="en-US"/>
        </a:p>
      </dgm:t>
    </dgm:pt>
    <dgm:pt modelId="{B70B3B6C-EF55-4278-9DC5-26C935A6FD9B}" type="pres">
      <dgm:prSet presAssocID="{20F3024F-36AB-4B1B-AB9D-D0CDF2505042}" presName="linear" presStyleCnt="0">
        <dgm:presLayoutVars>
          <dgm:animLvl val="lvl"/>
          <dgm:resizeHandles val="exact"/>
        </dgm:presLayoutVars>
      </dgm:prSet>
      <dgm:spPr/>
    </dgm:pt>
    <dgm:pt modelId="{069C8D03-83FC-4539-91EB-4AE42DB376C5}" type="pres">
      <dgm:prSet presAssocID="{5E729AFD-91E0-47A7-907B-700EA15710AE}" presName="parentText" presStyleLbl="node1" presStyleIdx="0" presStyleCnt="5">
        <dgm:presLayoutVars>
          <dgm:chMax val="0"/>
          <dgm:bulletEnabled val="1"/>
        </dgm:presLayoutVars>
      </dgm:prSet>
      <dgm:spPr/>
    </dgm:pt>
    <dgm:pt modelId="{D305D57A-C4C0-4DFA-A3D9-4902470A8152}" type="pres">
      <dgm:prSet presAssocID="{7470118A-8CC7-466B-82EA-0C60D1E51353}" presName="spacer" presStyleCnt="0"/>
      <dgm:spPr/>
    </dgm:pt>
    <dgm:pt modelId="{DA6AE445-2F2A-46E1-977C-E19450801CB0}" type="pres">
      <dgm:prSet presAssocID="{569137E7-7B2D-47F9-926E-2B7AFD80383F}" presName="parentText" presStyleLbl="node1" presStyleIdx="1" presStyleCnt="5">
        <dgm:presLayoutVars>
          <dgm:chMax val="0"/>
          <dgm:bulletEnabled val="1"/>
        </dgm:presLayoutVars>
      </dgm:prSet>
      <dgm:spPr/>
    </dgm:pt>
    <dgm:pt modelId="{7F21CECC-19BA-46A2-B88A-7B57360B82AF}" type="pres">
      <dgm:prSet presAssocID="{531606FE-FD93-4103-BBBF-AF297D46A87E}" presName="spacer" presStyleCnt="0"/>
      <dgm:spPr/>
    </dgm:pt>
    <dgm:pt modelId="{6DEA7C7C-19D1-4F31-B284-3316986224E6}" type="pres">
      <dgm:prSet presAssocID="{8407D515-8979-4C82-A19F-C7BB37B85626}" presName="parentText" presStyleLbl="node1" presStyleIdx="2" presStyleCnt="5">
        <dgm:presLayoutVars>
          <dgm:chMax val="0"/>
          <dgm:bulletEnabled val="1"/>
        </dgm:presLayoutVars>
      </dgm:prSet>
      <dgm:spPr/>
    </dgm:pt>
    <dgm:pt modelId="{17CAB6B7-D7FE-4671-B4F3-BFF5847832FC}" type="pres">
      <dgm:prSet presAssocID="{510B3F9F-D6E2-4B1C-BB8E-E334499229BD}" presName="spacer" presStyleCnt="0"/>
      <dgm:spPr/>
    </dgm:pt>
    <dgm:pt modelId="{5D747A15-8A24-4FBF-87CD-CE99984A4233}" type="pres">
      <dgm:prSet presAssocID="{E1127361-F022-4E3E-81C7-325C34B24B72}" presName="parentText" presStyleLbl="node1" presStyleIdx="3" presStyleCnt="5">
        <dgm:presLayoutVars>
          <dgm:chMax val="0"/>
          <dgm:bulletEnabled val="1"/>
        </dgm:presLayoutVars>
      </dgm:prSet>
      <dgm:spPr/>
    </dgm:pt>
    <dgm:pt modelId="{FA425F54-9D83-4755-83C5-11A96A60B871}" type="pres">
      <dgm:prSet presAssocID="{17017418-8F78-4127-812C-772C12F83448}" presName="spacer" presStyleCnt="0"/>
      <dgm:spPr/>
    </dgm:pt>
    <dgm:pt modelId="{C6120FE1-ADBB-4F2A-B708-6BBE0CF5E70F}" type="pres">
      <dgm:prSet presAssocID="{8DB6BBB3-D5E8-4A8D-B30F-BCFF42B0D6F4}" presName="parentText" presStyleLbl="node1" presStyleIdx="4" presStyleCnt="5">
        <dgm:presLayoutVars>
          <dgm:chMax val="0"/>
          <dgm:bulletEnabled val="1"/>
        </dgm:presLayoutVars>
      </dgm:prSet>
      <dgm:spPr/>
    </dgm:pt>
  </dgm:ptLst>
  <dgm:cxnLst>
    <dgm:cxn modelId="{93A47702-01E5-4A64-9083-D0F988061553}" type="presOf" srcId="{569137E7-7B2D-47F9-926E-2B7AFD80383F}" destId="{DA6AE445-2F2A-46E1-977C-E19450801CB0}" srcOrd="0" destOrd="0" presId="urn:microsoft.com/office/officeart/2005/8/layout/vList2"/>
    <dgm:cxn modelId="{CC4A6735-CA83-4E58-AC8C-407FBFFCB624}" srcId="{20F3024F-36AB-4B1B-AB9D-D0CDF2505042}" destId="{8407D515-8979-4C82-A19F-C7BB37B85626}" srcOrd="2" destOrd="0" parTransId="{A24061F7-8558-4DB8-952F-F8CE71ECA0ED}" sibTransId="{510B3F9F-D6E2-4B1C-BB8E-E334499229BD}"/>
    <dgm:cxn modelId="{FB979F39-955B-44D8-BD06-8399CA3DE5E9}" type="presOf" srcId="{20F3024F-36AB-4B1B-AB9D-D0CDF2505042}" destId="{B70B3B6C-EF55-4278-9DC5-26C935A6FD9B}" srcOrd="0" destOrd="0" presId="urn:microsoft.com/office/officeart/2005/8/layout/vList2"/>
    <dgm:cxn modelId="{4071123B-487F-4EFF-AEB5-3AE3838030ED}" srcId="{20F3024F-36AB-4B1B-AB9D-D0CDF2505042}" destId="{8DB6BBB3-D5E8-4A8D-B30F-BCFF42B0D6F4}" srcOrd="4" destOrd="0" parTransId="{6ADFE794-947F-4C53-8BCD-69DFCA852FB4}" sibTransId="{9B460778-DAF6-432E-8262-31C461D0C923}"/>
    <dgm:cxn modelId="{CB427343-EF99-4333-BE6D-FA39A6CB9C69}" srcId="{20F3024F-36AB-4B1B-AB9D-D0CDF2505042}" destId="{E1127361-F022-4E3E-81C7-325C34B24B72}" srcOrd="3" destOrd="0" parTransId="{C58D8D95-A355-4F02-9BBA-69666B816F15}" sibTransId="{17017418-8F78-4127-812C-772C12F83448}"/>
    <dgm:cxn modelId="{D50BA246-E3B6-4B53-92A3-6D5E75057402}" srcId="{20F3024F-36AB-4B1B-AB9D-D0CDF2505042}" destId="{5E729AFD-91E0-47A7-907B-700EA15710AE}" srcOrd="0" destOrd="0" parTransId="{17B1F7E4-9004-4367-9416-900F7B53F9D1}" sibTransId="{7470118A-8CC7-466B-82EA-0C60D1E51353}"/>
    <dgm:cxn modelId="{C9ADC37C-8185-4D13-BACB-E6A9C351EC5C}" type="presOf" srcId="{E1127361-F022-4E3E-81C7-325C34B24B72}" destId="{5D747A15-8A24-4FBF-87CD-CE99984A4233}" srcOrd="0" destOrd="0" presId="urn:microsoft.com/office/officeart/2005/8/layout/vList2"/>
    <dgm:cxn modelId="{3B9B127D-7361-47D4-B383-6129796857EF}" type="presOf" srcId="{5E729AFD-91E0-47A7-907B-700EA15710AE}" destId="{069C8D03-83FC-4539-91EB-4AE42DB376C5}" srcOrd="0" destOrd="0" presId="urn:microsoft.com/office/officeart/2005/8/layout/vList2"/>
    <dgm:cxn modelId="{43BAF8C2-26EA-487A-9D60-ACDE424BDDE8}" srcId="{20F3024F-36AB-4B1B-AB9D-D0CDF2505042}" destId="{569137E7-7B2D-47F9-926E-2B7AFD80383F}" srcOrd="1" destOrd="0" parTransId="{0C50BDE2-BEE3-4EED-AB4F-52DC164D5CD8}" sibTransId="{531606FE-FD93-4103-BBBF-AF297D46A87E}"/>
    <dgm:cxn modelId="{960E36D8-1CB0-4962-8A63-3451A3EC59E7}" type="presOf" srcId="{8DB6BBB3-D5E8-4A8D-B30F-BCFF42B0D6F4}" destId="{C6120FE1-ADBB-4F2A-B708-6BBE0CF5E70F}" srcOrd="0" destOrd="0" presId="urn:microsoft.com/office/officeart/2005/8/layout/vList2"/>
    <dgm:cxn modelId="{148A34EC-6499-470C-862C-F334DE5169BE}" type="presOf" srcId="{8407D515-8979-4C82-A19F-C7BB37B85626}" destId="{6DEA7C7C-19D1-4F31-B284-3316986224E6}" srcOrd="0" destOrd="0" presId="urn:microsoft.com/office/officeart/2005/8/layout/vList2"/>
    <dgm:cxn modelId="{5D050E4A-C2AC-4D81-9812-BECCDC1CA3F7}" type="presParOf" srcId="{B70B3B6C-EF55-4278-9DC5-26C935A6FD9B}" destId="{069C8D03-83FC-4539-91EB-4AE42DB376C5}" srcOrd="0" destOrd="0" presId="urn:microsoft.com/office/officeart/2005/8/layout/vList2"/>
    <dgm:cxn modelId="{B6A5A01B-2D6A-4E99-A5A2-F5DE713EB9A3}" type="presParOf" srcId="{B70B3B6C-EF55-4278-9DC5-26C935A6FD9B}" destId="{D305D57A-C4C0-4DFA-A3D9-4902470A8152}" srcOrd="1" destOrd="0" presId="urn:microsoft.com/office/officeart/2005/8/layout/vList2"/>
    <dgm:cxn modelId="{90D71112-660F-47AF-BE08-12A5196613AD}" type="presParOf" srcId="{B70B3B6C-EF55-4278-9DC5-26C935A6FD9B}" destId="{DA6AE445-2F2A-46E1-977C-E19450801CB0}" srcOrd="2" destOrd="0" presId="urn:microsoft.com/office/officeart/2005/8/layout/vList2"/>
    <dgm:cxn modelId="{2F44A2C3-CFE9-4A64-949A-85F5C6A3133D}" type="presParOf" srcId="{B70B3B6C-EF55-4278-9DC5-26C935A6FD9B}" destId="{7F21CECC-19BA-46A2-B88A-7B57360B82AF}" srcOrd="3" destOrd="0" presId="urn:microsoft.com/office/officeart/2005/8/layout/vList2"/>
    <dgm:cxn modelId="{20195253-BBBD-45D3-ACDD-D32855A272D2}" type="presParOf" srcId="{B70B3B6C-EF55-4278-9DC5-26C935A6FD9B}" destId="{6DEA7C7C-19D1-4F31-B284-3316986224E6}" srcOrd="4" destOrd="0" presId="urn:microsoft.com/office/officeart/2005/8/layout/vList2"/>
    <dgm:cxn modelId="{5273ACDD-9600-4E7B-B033-E090355667D2}" type="presParOf" srcId="{B70B3B6C-EF55-4278-9DC5-26C935A6FD9B}" destId="{17CAB6B7-D7FE-4671-B4F3-BFF5847832FC}" srcOrd="5" destOrd="0" presId="urn:microsoft.com/office/officeart/2005/8/layout/vList2"/>
    <dgm:cxn modelId="{E9B1F687-12A8-428B-A796-2A8A48B44820}" type="presParOf" srcId="{B70B3B6C-EF55-4278-9DC5-26C935A6FD9B}" destId="{5D747A15-8A24-4FBF-87CD-CE99984A4233}" srcOrd="6" destOrd="0" presId="urn:microsoft.com/office/officeart/2005/8/layout/vList2"/>
    <dgm:cxn modelId="{A2451516-8C19-4840-8D63-D0B58C44B7D3}" type="presParOf" srcId="{B70B3B6C-EF55-4278-9DC5-26C935A6FD9B}" destId="{FA425F54-9D83-4755-83C5-11A96A60B871}" srcOrd="7" destOrd="0" presId="urn:microsoft.com/office/officeart/2005/8/layout/vList2"/>
    <dgm:cxn modelId="{157426B8-1001-420E-9ED9-4E6D6042CAD7}" type="presParOf" srcId="{B70B3B6C-EF55-4278-9DC5-26C935A6FD9B}" destId="{C6120FE1-ADBB-4F2A-B708-6BBE0CF5E70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71E5151-E140-442C-A8E5-2EBCA6AEDDE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nl-BE"/>
        </a:p>
      </dgm:t>
    </dgm:pt>
    <dgm:pt modelId="{C118501A-B08B-400D-8D51-5235A2F62A92}">
      <dgm:prSet/>
      <dgm:spPr>
        <a:xfrm>
          <a:off x="472762" y="313571"/>
          <a:ext cx="11258718" cy="627543"/>
        </a:xfrm>
        <a:prstGeom prst="rect">
          <a:avLst/>
        </a:prstGeom>
      </dgm:spPr>
      <dgm:t>
        <a:bodyPr/>
        <a:lstStyle/>
        <a:p>
          <a:pPr>
            <a:buNone/>
          </a:pPr>
          <a:r>
            <a:rPr lang="en-US" baseline="0">
              <a:latin typeface="Segoe UI"/>
              <a:ea typeface="+mn-ea"/>
              <a:cs typeface="+mn-cs"/>
            </a:rPr>
            <a:t>Choose the highest service level and performance tier.</a:t>
          </a:r>
          <a:endParaRPr lang="nl-BE" dirty="0">
            <a:latin typeface="Segoe UI"/>
            <a:ea typeface="+mn-ea"/>
            <a:cs typeface="+mn-cs"/>
          </a:endParaRPr>
        </a:p>
      </dgm:t>
    </dgm:pt>
    <dgm:pt modelId="{538E541E-787C-4350-B7FA-47DF88E57F91}" type="parTrans" cxnId="{1DC93292-C6D5-4A95-B504-5B2DE8FB467C}">
      <dgm:prSet/>
      <dgm:spPr/>
      <dgm:t>
        <a:bodyPr/>
        <a:lstStyle/>
        <a:p>
          <a:endParaRPr lang="nl-BE"/>
        </a:p>
      </dgm:t>
    </dgm:pt>
    <dgm:pt modelId="{5687F8E3-511D-4479-8FF9-64BD0C979236}" type="sibTrans" cxnId="{1DC93292-C6D5-4A95-B504-5B2DE8FB467C}">
      <dgm:prSet/>
      <dgm:spPr>
        <a:xfrm>
          <a:off x="-5674516" y="-868624"/>
          <a:ext cx="6755993" cy="6755993"/>
        </a:xfrm>
        <a:prstGeom prst="blockArc">
          <a:avLst>
            <a:gd name="adj1" fmla="val 18900000"/>
            <a:gd name="adj2" fmla="val 2700000"/>
            <a:gd name="adj3" fmla="val 320"/>
          </a:avLst>
        </a:prstGeom>
      </dgm:spPr>
      <dgm:t>
        <a:bodyPr/>
        <a:lstStyle/>
        <a:p>
          <a:endParaRPr lang="nl-BE"/>
        </a:p>
      </dgm:t>
    </dgm:pt>
    <dgm:pt modelId="{46D3F8AF-B067-43E7-8234-856CD80E8AFD}">
      <dgm:prSet/>
      <dgm:spPr>
        <a:xfrm>
          <a:off x="922442" y="1254585"/>
          <a:ext cx="10809039" cy="627543"/>
        </a:xfrm>
        <a:prstGeom prst="rect">
          <a:avLst/>
        </a:prstGeom>
      </dgm:spPr>
      <dgm:t>
        <a:bodyPr/>
        <a:lstStyle/>
        <a:p>
          <a:pPr>
            <a:buNone/>
          </a:pPr>
          <a:r>
            <a:rPr lang="en-US" baseline="0">
              <a:latin typeface="Segoe UI"/>
              <a:ea typeface="+mn-ea"/>
              <a:cs typeface="+mn-cs"/>
            </a:rPr>
            <a:t>Minimize the distance between your BACPAC file and the destination data center.</a:t>
          </a:r>
          <a:endParaRPr lang="nl-BE" dirty="0">
            <a:latin typeface="Segoe UI"/>
            <a:ea typeface="+mn-ea"/>
            <a:cs typeface="+mn-cs"/>
          </a:endParaRPr>
        </a:p>
      </dgm:t>
    </dgm:pt>
    <dgm:pt modelId="{82E4B2CC-9D76-4AF9-B311-363FBBEAFEC6}" type="parTrans" cxnId="{4F0CED67-CF27-43EB-8CF2-236824BE91FD}">
      <dgm:prSet/>
      <dgm:spPr/>
      <dgm:t>
        <a:bodyPr/>
        <a:lstStyle/>
        <a:p>
          <a:endParaRPr lang="nl-BE"/>
        </a:p>
      </dgm:t>
    </dgm:pt>
    <dgm:pt modelId="{4D8EA67F-C6AC-421C-9DED-DAD07765A15C}" type="sibTrans" cxnId="{4F0CED67-CF27-43EB-8CF2-236824BE91FD}">
      <dgm:prSet/>
      <dgm:spPr/>
      <dgm:t>
        <a:bodyPr/>
        <a:lstStyle/>
        <a:p>
          <a:endParaRPr lang="nl-BE"/>
        </a:p>
      </dgm:t>
    </dgm:pt>
    <dgm:pt modelId="{5CAB923C-3508-4546-9766-C0E2E4F795F0}">
      <dgm:prSet/>
      <dgm:spPr>
        <a:xfrm>
          <a:off x="1060457" y="2195600"/>
          <a:ext cx="10671023" cy="627543"/>
        </a:xfrm>
        <a:prstGeom prst="rect">
          <a:avLst/>
        </a:prstGeom>
      </dgm:spPr>
      <dgm:t>
        <a:bodyPr/>
        <a:lstStyle/>
        <a:p>
          <a:pPr>
            <a:buNone/>
          </a:pPr>
          <a:r>
            <a:rPr lang="en-US" baseline="0">
              <a:latin typeface="Segoe UI"/>
              <a:ea typeface="+mn-ea"/>
              <a:cs typeface="+mn-cs"/>
            </a:rPr>
            <a:t>Disable auto-statistics during migration.</a:t>
          </a:r>
          <a:endParaRPr lang="nl-BE" dirty="0">
            <a:latin typeface="Segoe UI"/>
            <a:ea typeface="+mn-ea"/>
            <a:cs typeface="+mn-cs"/>
          </a:endParaRPr>
        </a:p>
      </dgm:t>
    </dgm:pt>
    <dgm:pt modelId="{2E4D2BCB-6433-4AB7-8F4F-63EAC8393008}" type="parTrans" cxnId="{E7F71879-8CE5-4C9F-ACD8-474C0F86E616}">
      <dgm:prSet/>
      <dgm:spPr/>
      <dgm:t>
        <a:bodyPr/>
        <a:lstStyle/>
        <a:p>
          <a:endParaRPr lang="nl-BE"/>
        </a:p>
      </dgm:t>
    </dgm:pt>
    <dgm:pt modelId="{616F8268-3D2C-4A57-A713-E043D9C75DF3}" type="sibTrans" cxnId="{E7F71879-8CE5-4C9F-ACD8-474C0F86E616}">
      <dgm:prSet/>
      <dgm:spPr/>
      <dgm:t>
        <a:bodyPr/>
        <a:lstStyle/>
        <a:p>
          <a:endParaRPr lang="nl-BE"/>
        </a:p>
      </dgm:t>
    </dgm:pt>
    <dgm:pt modelId="{1463B884-C83C-4ED9-94D9-F9F7C2D6B8FF}">
      <dgm:prSet/>
      <dgm:spPr>
        <a:xfrm>
          <a:off x="922442" y="3136615"/>
          <a:ext cx="10809039" cy="627543"/>
        </a:xfrm>
        <a:prstGeom prst="rect">
          <a:avLst/>
        </a:prstGeom>
      </dgm:spPr>
      <dgm:t>
        <a:bodyPr/>
        <a:lstStyle/>
        <a:p>
          <a:pPr>
            <a:buNone/>
          </a:pPr>
          <a:r>
            <a:rPr lang="en-US" baseline="0">
              <a:latin typeface="Segoe UI"/>
              <a:ea typeface="+mn-ea"/>
              <a:cs typeface="+mn-cs"/>
            </a:rPr>
            <a:t>Partition tables and indexes.</a:t>
          </a:r>
          <a:endParaRPr lang="nl-BE" dirty="0">
            <a:latin typeface="Segoe UI"/>
            <a:ea typeface="+mn-ea"/>
            <a:cs typeface="+mn-cs"/>
          </a:endParaRPr>
        </a:p>
      </dgm:t>
    </dgm:pt>
    <dgm:pt modelId="{AC1864F7-1499-41E6-BFB7-72772E105A02}" type="parTrans" cxnId="{BE05C216-3583-4496-A09D-8BEB96C5EC4B}">
      <dgm:prSet/>
      <dgm:spPr/>
      <dgm:t>
        <a:bodyPr/>
        <a:lstStyle/>
        <a:p>
          <a:endParaRPr lang="nl-BE"/>
        </a:p>
      </dgm:t>
    </dgm:pt>
    <dgm:pt modelId="{D0878044-7FD1-4CCC-A222-1651769C9C5B}" type="sibTrans" cxnId="{BE05C216-3583-4496-A09D-8BEB96C5EC4B}">
      <dgm:prSet/>
      <dgm:spPr/>
      <dgm:t>
        <a:bodyPr/>
        <a:lstStyle/>
        <a:p>
          <a:endParaRPr lang="nl-BE"/>
        </a:p>
      </dgm:t>
    </dgm:pt>
    <dgm:pt modelId="{95D82365-A394-463F-BA84-440483569D9D}">
      <dgm:prSet/>
      <dgm:spPr>
        <a:xfrm>
          <a:off x="463305" y="4077629"/>
          <a:ext cx="11258718" cy="627543"/>
        </a:xfrm>
        <a:prstGeom prst="rect">
          <a:avLst/>
        </a:prstGeom>
      </dgm:spPr>
      <dgm:t>
        <a:bodyPr/>
        <a:lstStyle/>
        <a:p>
          <a:pPr>
            <a:buNone/>
          </a:pPr>
          <a:r>
            <a:rPr lang="en-US" baseline="0">
              <a:latin typeface="Segoe UI"/>
              <a:ea typeface="+mn-ea"/>
              <a:cs typeface="+mn-cs"/>
            </a:rPr>
            <a:t>Drop indexed views and recreate them once finished.</a:t>
          </a:r>
          <a:endParaRPr lang="nl-BE" dirty="0">
            <a:latin typeface="Segoe UI"/>
            <a:ea typeface="+mn-ea"/>
            <a:cs typeface="+mn-cs"/>
          </a:endParaRPr>
        </a:p>
      </dgm:t>
    </dgm:pt>
    <dgm:pt modelId="{701BC8C5-4D0C-4B31-B23F-262D8D079166}" type="parTrans" cxnId="{7C21AE09-C474-4D0C-B707-8648A46C9D0B}">
      <dgm:prSet/>
      <dgm:spPr/>
      <dgm:t>
        <a:bodyPr/>
        <a:lstStyle/>
        <a:p>
          <a:endParaRPr lang="nl-BE"/>
        </a:p>
      </dgm:t>
    </dgm:pt>
    <dgm:pt modelId="{E6816499-60F9-4F48-837F-E34BF205340C}" type="sibTrans" cxnId="{7C21AE09-C474-4D0C-B707-8648A46C9D0B}">
      <dgm:prSet/>
      <dgm:spPr/>
      <dgm:t>
        <a:bodyPr/>
        <a:lstStyle/>
        <a:p>
          <a:endParaRPr lang="nl-BE"/>
        </a:p>
      </dgm:t>
    </dgm:pt>
    <dgm:pt modelId="{92454B0B-8FB2-41BC-A5C2-64178204D452}" type="pres">
      <dgm:prSet presAssocID="{F71E5151-E140-442C-A8E5-2EBCA6AEDDEA}" presName="Name0" presStyleCnt="0">
        <dgm:presLayoutVars>
          <dgm:chMax val="7"/>
          <dgm:chPref val="7"/>
          <dgm:dir/>
        </dgm:presLayoutVars>
      </dgm:prSet>
      <dgm:spPr/>
    </dgm:pt>
    <dgm:pt modelId="{4CE2E5A8-5DEF-4995-889B-CE6508DBE510}" type="pres">
      <dgm:prSet presAssocID="{F71E5151-E140-442C-A8E5-2EBCA6AEDDEA}" presName="Name1" presStyleCnt="0"/>
      <dgm:spPr/>
    </dgm:pt>
    <dgm:pt modelId="{E6413A91-8D0B-4CA0-9508-90E0380701AF}" type="pres">
      <dgm:prSet presAssocID="{F71E5151-E140-442C-A8E5-2EBCA6AEDDEA}" presName="cycle" presStyleCnt="0"/>
      <dgm:spPr/>
    </dgm:pt>
    <dgm:pt modelId="{64D0A7EA-FDE7-4276-891E-FAC448417708}" type="pres">
      <dgm:prSet presAssocID="{F71E5151-E140-442C-A8E5-2EBCA6AEDDEA}" presName="srcNode" presStyleLbl="node1" presStyleIdx="0" presStyleCnt="5"/>
      <dgm:spPr/>
    </dgm:pt>
    <dgm:pt modelId="{1AA69857-ACEC-4468-9B78-17D0B148BA24}" type="pres">
      <dgm:prSet presAssocID="{F71E5151-E140-442C-A8E5-2EBCA6AEDDEA}" presName="conn" presStyleLbl="parChTrans1D2" presStyleIdx="0" presStyleCnt="1"/>
      <dgm:spPr/>
    </dgm:pt>
    <dgm:pt modelId="{98BD1D00-015B-48F0-B486-F4C1CE3FA1AA}" type="pres">
      <dgm:prSet presAssocID="{F71E5151-E140-442C-A8E5-2EBCA6AEDDEA}" presName="extraNode" presStyleLbl="node1" presStyleIdx="0" presStyleCnt="5"/>
      <dgm:spPr/>
    </dgm:pt>
    <dgm:pt modelId="{31B9BD79-225B-45CD-8F54-04B6D4CBB2BF}" type="pres">
      <dgm:prSet presAssocID="{F71E5151-E140-442C-A8E5-2EBCA6AEDDEA}" presName="dstNode" presStyleLbl="node1" presStyleIdx="0" presStyleCnt="5"/>
      <dgm:spPr/>
    </dgm:pt>
    <dgm:pt modelId="{C50A4D61-6858-4E35-B899-E0718499CD03}" type="pres">
      <dgm:prSet presAssocID="{C118501A-B08B-400D-8D51-5235A2F62A92}" presName="text_1" presStyleLbl="node1" presStyleIdx="0" presStyleCnt="5">
        <dgm:presLayoutVars>
          <dgm:bulletEnabled val="1"/>
        </dgm:presLayoutVars>
      </dgm:prSet>
      <dgm:spPr/>
    </dgm:pt>
    <dgm:pt modelId="{D5F946E3-DFF1-4F9B-B6B0-79EB1EE92BA4}" type="pres">
      <dgm:prSet presAssocID="{C118501A-B08B-400D-8D51-5235A2F62A92}" presName="accent_1" presStyleCnt="0"/>
      <dgm:spPr/>
    </dgm:pt>
    <dgm:pt modelId="{29C0DA39-E4D9-4367-8569-836E982F2783}" type="pres">
      <dgm:prSet presAssocID="{C118501A-B08B-400D-8D51-5235A2F62A92}" presName="accentRepeatNode" presStyleLbl="solidFgAcc1" presStyleIdx="0" presStyleCnt="5"/>
      <dgm:spPr>
        <a:xfrm>
          <a:off x="80547" y="235128"/>
          <a:ext cx="784429" cy="784429"/>
        </a:xfrm>
        <a:prstGeom prst="ellipse">
          <a:avLst/>
        </a:prstGeom>
      </dgm:spPr>
    </dgm:pt>
    <dgm:pt modelId="{E133CFC2-9CBC-4C82-B77F-0D24DFB5BB26}" type="pres">
      <dgm:prSet presAssocID="{46D3F8AF-B067-43E7-8234-856CD80E8AFD}" presName="text_2" presStyleLbl="node1" presStyleIdx="1" presStyleCnt="5">
        <dgm:presLayoutVars>
          <dgm:bulletEnabled val="1"/>
        </dgm:presLayoutVars>
      </dgm:prSet>
      <dgm:spPr/>
    </dgm:pt>
    <dgm:pt modelId="{DC79662D-20D5-45EF-9EA1-CB0E3D31AD28}" type="pres">
      <dgm:prSet presAssocID="{46D3F8AF-B067-43E7-8234-856CD80E8AFD}" presName="accent_2" presStyleCnt="0"/>
      <dgm:spPr/>
    </dgm:pt>
    <dgm:pt modelId="{AF578D8A-58D4-4CF4-9210-E09999647115}" type="pres">
      <dgm:prSet presAssocID="{46D3F8AF-B067-43E7-8234-856CD80E8AFD}" presName="accentRepeatNode" presStyleLbl="solidFgAcc1" presStyleIdx="1" presStyleCnt="5"/>
      <dgm:spPr>
        <a:xfrm>
          <a:off x="530227" y="1176142"/>
          <a:ext cx="784429" cy="784429"/>
        </a:xfrm>
        <a:prstGeom prst="ellipse">
          <a:avLst/>
        </a:prstGeom>
      </dgm:spPr>
    </dgm:pt>
    <dgm:pt modelId="{9D56C505-B065-4C8F-B356-36FEDA400909}" type="pres">
      <dgm:prSet presAssocID="{5CAB923C-3508-4546-9766-C0E2E4F795F0}" presName="text_3" presStyleLbl="node1" presStyleIdx="2" presStyleCnt="5">
        <dgm:presLayoutVars>
          <dgm:bulletEnabled val="1"/>
        </dgm:presLayoutVars>
      </dgm:prSet>
      <dgm:spPr/>
    </dgm:pt>
    <dgm:pt modelId="{785FA765-9FE3-42DE-A7FA-63B20C409C1A}" type="pres">
      <dgm:prSet presAssocID="{5CAB923C-3508-4546-9766-C0E2E4F795F0}" presName="accent_3" presStyleCnt="0"/>
      <dgm:spPr/>
    </dgm:pt>
    <dgm:pt modelId="{8BEC6F4E-62E8-40D3-BBEA-E6E7856506ED}" type="pres">
      <dgm:prSet presAssocID="{5CAB923C-3508-4546-9766-C0E2E4F795F0}" presName="accentRepeatNode" presStyleLbl="solidFgAcc1" presStyleIdx="2" presStyleCnt="5"/>
      <dgm:spPr>
        <a:xfrm>
          <a:off x="668242" y="2117157"/>
          <a:ext cx="784429" cy="784429"/>
        </a:xfrm>
        <a:prstGeom prst="ellipse">
          <a:avLst/>
        </a:prstGeom>
      </dgm:spPr>
    </dgm:pt>
    <dgm:pt modelId="{5892F4C2-2AD0-47EA-9BDD-093A92D2AD57}" type="pres">
      <dgm:prSet presAssocID="{1463B884-C83C-4ED9-94D9-F9F7C2D6B8FF}" presName="text_4" presStyleLbl="node1" presStyleIdx="3" presStyleCnt="5">
        <dgm:presLayoutVars>
          <dgm:bulletEnabled val="1"/>
        </dgm:presLayoutVars>
      </dgm:prSet>
      <dgm:spPr/>
    </dgm:pt>
    <dgm:pt modelId="{41EBC8B3-9032-4103-9A51-CB298638709C}" type="pres">
      <dgm:prSet presAssocID="{1463B884-C83C-4ED9-94D9-F9F7C2D6B8FF}" presName="accent_4" presStyleCnt="0"/>
      <dgm:spPr/>
    </dgm:pt>
    <dgm:pt modelId="{68A712B5-7A9D-4BC8-A768-AD1C45F2202F}" type="pres">
      <dgm:prSet presAssocID="{1463B884-C83C-4ED9-94D9-F9F7C2D6B8FF}" presName="accentRepeatNode" presStyleLbl="solidFgAcc1" presStyleIdx="3" presStyleCnt="5"/>
      <dgm:spPr>
        <a:xfrm>
          <a:off x="530227" y="3058172"/>
          <a:ext cx="784429" cy="784429"/>
        </a:xfrm>
        <a:prstGeom prst="ellipse">
          <a:avLst/>
        </a:prstGeom>
      </dgm:spPr>
    </dgm:pt>
    <dgm:pt modelId="{CF463F72-D41C-4CCE-90EF-2EE8D043501E}" type="pres">
      <dgm:prSet presAssocID="{95D82365-A394-463F-BA84-440483569D9D}" presName="text_5" presStyleLbl="node1" presStyleIdx="4" presStyleCnt="5" custLinFactNeighborX="-84">
        <dgm:presLayoutVars>
          <dgm:bulletEnabled val="1"/>
        </dgm:presLayoutVars>
      </dgm:prSet>
      <dgm:spPr/>
    </dgm:pt>
    <dgm:pt modelId="{A3017C46-4134-4FD0-A930-849B6EC32195}" type="pres">
      <dgm:prSet presAssocID="{95D82365-A394-463F-BA84-440483569D9D}" presName="accent_5" presStyleCnt="0"/>
      <dgm:spPr/>
    </dgm:pt>
    <dgm:pt modelId="{B0D07764-F9C5-43E8-B28E-3E72D725A643}" type="pres">
      <dgm:prSet presAssocID="{95D82365-A394-463F-BA84-440483569D9D}" presName="accentRepeatNode" presStyleLbl="solidFgAcc1" presStyleIdx="4" presStyleCnt="5"/>
      <dgm:spPr>
        <a:xfrm>
          <a:off x="80547" y="3999186"/>
          <a:ext cx="784429" cy="784429"/>
        </a:xfrm>
        <a:prstGeom prst="ellipse">
          <a:avLst/>
        </a:prstGeom>
      </dgm:spPr>
    </dgm:pt>
  </dgm:ptLst>
  <dgm:cxnLst>
    <dgm:cxn modelId="{53A92202-1E86-41EE-88AB-F6A7B758FB46}" type="presOf" srcId="{1463B884-C83C-4ED9-94D9-F9F7C2D6B8FF}" destId="{5892F4C2-2AD0-47EA-9BDD-093A92D2AD57}" srcOrd="0" destOrd="0" presId="urn:microsoft.com/office/officeart/2008/layout/VerticalCurvedList"/>
    <dgm:cxn modelId="{7C21AE09-C474-4D0C-B707-8648A46C9D0B}" srcId="{F71E5151-E140-442C-A8E5-2EBCA6AEDDEA}" destId="{95D82365-A394-463F-BA84-440483569D9D}" srcOrd="4" destOrd="0" parTransId="{701BC8C5-4D0C-4B31-B23F-262D8D079166}" sibTransId="{E6816499-60F9-4F48-837F-E34BF205340C}"/>
    <dgm:cxn modelId="{BE05C216-3583-4496-A09D-8BEB96C5EC4B}" srcId="{F71E5151-E140-442C-A8E5-2EBCA6AEDDEA}" destId="{1463B884-C83C-4ED9-94D9-F9F7C2D6B8FF}" srcOrd="3" destOrd="0" parTransId="{AC1864F7-1499-41E6-BFB7-72772E105A02}" sibTransId="{D0878044-7FD1-4CCC-A222-1651769C9C5B}"/>
    <dgm:cxn modelId="{C5E6F03C-18EB-401F-B78B-7741DC723C99}" type="presOf" srcId="{F71E5151-E140-442C-A8E5-2EBCA6AEDDEA}" destId="{92454B0B-8FB2-41BC-A5C2-64178204D452}" srcOrd="0" destOrd="0" presId="urn:microsoft.com/office/officeart/2008/layout/VerticalCurvedList"/>
    <dgm:cxn modelId="{0F51D766-C242-4D71-B1BF-708F8F9E4CB2}" type="presOf" srcId="{46D3F8AF-B067-43E7-8234-856CD80E8AFD}" destId="{E133CFC2-9CBC-4C82-B77F-0D24DFB5BB26}" srcOrd="0" destOrd="0" presId="urn:microsoft.com/office/officeart/2008/layout/VerticalCurvedList"/>
    <dgm:cxn modelId="{4F0CED67-CF27-43EB-8CF2-236824BE91FD}" srcId="{F71E5151-E140-442C-A8E5-2EBCA6AEDDEA}" destId="{46D3F8AF-B067-43E7-8234-856CD80E8AFD}" srcOrd="1" destOrd="0" parTransId="{82E4B2CC-9D76-4AF9-B311-363FBBEAFEC6}" sibTransId="{4D8EA67F-C6AC-421C-9DED-DAD07765A15C}"/>
    <dgm:cxn modelId="{C3760D52-7E91-4C6B-94CC-90D5E6EA2199}" type="presOf" srcId="{5687F8E3-511D-4479-8FF9-64BD0C979236}" destId="{1AA69857-ACEC-4468-9B78-17D0B148BA24}" srcOrd="0" destOrd="0" presId="urn:microsoft.com/office/officeart/2008/layout/VerticalCurvedList"/>
    <dgm:cxn modelId="{E7F71879-8CE5-4C9F-ACD8-474C0F86E616}" srcId="{F71E5151-E140-442C-A8E5-2EBCA6AEDDEA}" destId="{5CAB923C-3508-4546-9766-C0E2E4F795F0}" srcOrd="2" destOrd="0" parTransId="{2E4D2BCB-6433-4AB7-8F4F-63EAC8393008}" sibTransId="{616F8268-3D2C-4A57-A713-E043D9C75DF3}"/>
    <dgm:cxn modelId="{D1B3517D-FFF8-4293-B577-66E88A7E09B4}" type="presOf" srcId="{5CAB923C-3508-4546-9766-C0E2E4F795F0}" destId="{9D56C505-B065-4C8F-B356-36FEDA400909}" srcOrd="0" destOrd="0" presId="urn:microsoft.com/office/officeart/2008/layout/VerticalCurvedList"/>
    <dgm:cxn modelId="{EEF0BD84-30CC-4C3D-A273-8EE55B78A00B}" type="presOf" srcId="{95D82365-A394-463F-BA84-440483569D9D}" destId="{CF463F72-D41C-4CCE-90EF-2EE8D043501E}" srcOrd="0" destOrd="0" presId="urn:microsoft.com/office/officeart/2008/layout/VerticalCurvedList"/>
    <dgm:cxn modelId="{1DC93292-C6D5-4A95-B504-5B2DE8FB467C}" srcId="{F71E5151-E140-442C-A8E5-2EBCA6AEDDEA}" destId="{C118501A-B08B-400D-8D51-5235A2F62A92}" srcOrd="0" destOrd="0" parTransId="{538E541E-787C-4350-B7FA-47DF88E57F91}" sibTransId="{5687F8E3-511D-4479-8FF9-64BD0C979236}"/>
    <dgm:cxn modelId="{9DA02CC4-DC7E-4CF4-8CEF-AE530A0CCA07}" type="presOf" srcId="{C118501A-B08B-400D-8D51-5235A2F62A92}" destId="{C50A4D61-6858-4E35-B899-E0718499CD03}" srcOrd="0" destOrd="0" presId="urn:microsoft.com/office/officeart/2008/layout/VerticalCurvedList"/>
    <dgm:cxn modelId="{7D74CDD9-B4F2-4212-8224-F69D02761F83}" type="presParOf" srcId="{92454B0B-8FB2-41BC-A5C2-64178204D452}" destId="{4CE2E5A8-5DEF-4995-889B-CE6508DBE510}" srcOrd="0" destOrd="0" presId="urn:microsoft.com/office/officeart/2008/layout/VerticalCurvedList"/>
    <dgm:cxn modelId="{0A19EA0F-D14B-49A2-8BCF-5972C4ADDA60}" type="presParOf" srcId="{4CE2E5A8-5DEF-4995-889B-CE6508DBE510}" destId="{E6413A91-8D0B-4CA0-9508-90E0380701AF}" srcOrd="0" destOrd="0" presId="urn:microsoft.com/office/officeart/2008/layout/VerticalCurvedList"/>
    <dgm:cxn modelId="{D6014B9E-8738-4876-9932-B88FA9F61DF6}" type="presParOf" srcId="{E6413A91-8D0B-4CA0-9508-90E0380701AF}" destId="{64D0A7EA-FDE7-4276-891E-FAC448417708}" srcOrd="0" destOrd="0" presId="urn:microsoft.com/office/officeart/2008/layout/VerticalCurvedList"/>
    <dgm:cxn modelId="{499A7684-2F27-45B9-AB20-D5C876B8091B}" type="presParOf" srcId="{E6413A91-8D0B-4CA0-9508-90E0380701AF}" destId="{1AA69857-ACEC-4468-9B78-17D0B148BA24}" srcOrd="1" destOrd="0" presId="urn:microsoft.com/office/officeart/2008/layout/VerticalCurvedList"/>
    <dgm:cxn modelId="{DC2B0A93-2506-44D8-8D82-D5D7E1E3B2EA}" type="presParOf" srcId="{E6413A91-8D0B-4CA0-9508-90E0380701AF}" destId="{98BD1D00-015B-48F0-B486-F4C1CE3FA1AA}" srcOrd="2" destOrd="0" presId="urn:microsoft.com/office/officeart/2008/layout/VerticalCurvedList"/>
    <dgm:cxn modelId="{8218BAE0-021D-4BC6-A9D2-5B9D032A08D1}" type="presParOf" srcId="{E6413A91-8D0B-4CA0-9508-90E0380701AF}" destId="{31B9BD79-225B-45CD-8F54-04B6D4CBB2BF}" srcOrd="3" destOrd="0" presId="urn:microsoft.com/office/officeart/2008/layout/VerticalCurvedList"/>
    <dgm:cxn modelId="{84495C10-5D96-44B0-8928-DDE5C27B7369}" type="presParOf" srcId="{4CE2E5A8-5DEF-4995-889B-CE6508DBE510}" destId="{C50A4D61-6858-4E35-B899-E0718499CD03}" srcOrd="1" destOrd="0" presId="urn:microsoft.com/office/officeart/2008/layout/VerticalCurvedList"/>
    <dgm:cxn modelId="{149C187C-0BC8-42E7-8BCB-4238B7E32C45}" type="presParOf" srcId="{4CE2E5A8-5DEF-4995-889B-CE6508DBE510}" destId="{D5F946E3-DFF1-4F9B-B6B0-79EB1EE92BA4}" srcOrd="2" destOrd="0" presId="urn:microsoft.com/office/officeart/2008/layout/VerticalCurvedList"/>
    <dgm:cxn modelId="{CFDC1BCC-C24F-4C7B-84FA-5F5CE36303C0}" type="presParOf" srcId="{D5F946E3-DFF1-4F9B-B6B0-79EB1EE92BA4}" destId="{29C0DA39-E4D9-4367-8569-836E982F2783}" srcOrd="0" destOrd="0" presId="urn:microsoft.com/office/officeart/2008/layout/VerticalCurvedList"/>
    <dgm:cxn modelId="{AED1CB87-1B30-484E-86F1-FAD81F89E18B}" type="presParOf" srcId="{4CE2E5A8-5DEF-4995-889B-CE6508DBE510}" destId="{E133CFC2-9CBC-4C82-B77F-0D24DFB5BB26}" srcOrd="3" destOrd="0" presId="urn:microsoft.com/office/officeart/2008/layout/VerticalCurvedList"/>
    <dgm:cxn modelId="{C85B88DB-DDE6-484D-A11D-24DEF8547D51}" type="presParOf" srcId="{4CE2E5A8-5DEF-4995-889B-CE6508DBE510}" destId="{DC79662D-20D5-45EF-9EA1-CB0E3D31AD28}" srcOrd="4" destOrd="0" presId="urn:microsoft.com/office/officeart/2008/layout/VerticalCurvedList"/>
    <dgm:cxn modelId="{55F2454F-6D09-406B-BF3B-D146ECD8FF9B}" type="presParOf" srcId="{DC79662D-20D5-45EF-9EA1-CB0E3D31AD28}" destId="{AF578D8A-58D4-4CF4-9210-E09999647115}" srcOrd="0" destOrd="0" presId="urn:microsoft.com/office/officeart/2008/layout/VerticalCurvedList"/>
    <dgm:cxn modelId="{82486D05-F56D-42C2-996A-D35A24C9D887}" type="presParOf" srcId="{4CE2E5A8-5DEF-4995-889B-CE6508DBE510}" destId="{9D56C505-B065-4C8F-B356-36FEDA400909}" srcOrd="5" destOrd="0" presId="urn:microsoft.com/office/officeart/2008/layout/VerticalCurvedList"/>
    <dgm:cxn modelId="{E8C518C4-4C78-4C10-A4D0-D3611B144EC8}" type="presParOf" srcId="{4CE2E5A8-5DEF-4995-889B-CE6508DBE510}" destId="{785FA765-9FE3-42DE-A7FA-63B20C409C1A}" srcOrd="6" destOrd="0" presId="urn:microsoft.com/office/officeart/2008/layout/VerticalCurvedList"/>
    <dgm:cxn modelId="{682D1E3F-6A19-4EDC-A0BD-EBE0F4EDE735}" type="presParOf" srcId="{785FA765-9FE3-42DE-A7FA-63B20C409C1A}" destId="{8BEC6F4E-62E8-40D3-BBEA-E6E7856506ED}" srcOrd="0" destOrd="0" presId="urn:microsoft.com/office/officeart/2008/layout/VerticalCurvedList"/>
    <dgm:cxn modelId="{F1DB405F-13C0-40F5-9988-EA857564E6C1}" type="presParOf" srcId="{4CE2E5A8-5DEF-4995-889B-CE6508DBE510}" destId="{5892F4C2-2AD0-47EA-9BDD-093A92D2AD57}" srcOrd="7" destOrd="0" presId="urn:microsoft.com/office/officeart/2008/layout/VerticalCurvedList"/>
    <dgm:cxn modelId="{31C955DF-B84E-457A-B950-1993D3C35292}" type="presParOf" srcId="{4CE2E5A8-5DEF-4995-889B-CE6508DBE510}" destId="{41EBC8B3-9032-4103-9A51-CB298638709C}" srcOrd="8" destOrd="0" presId="urn:microsoft.com/office/officeart/2008/layout/VerticalCurvedList"/>
    <dgm:cxn modelId="{E75BFEC6-B6B6-4850-9EF5-E9C0EC9B864C}" type="presParOf" srcId="{41EBC8B3-9032-4103-9A51-CB298638709C}" destId="{68A712B5-7A9D-4BC8-A768-AD1C45F2202F}" srcOrd="0" destOrd="0" presId="urn:microsoft.com/office/officeart/2008/layout/VerticalCurvedList"/>
    <dgm:cxn modelId="{1F62F37D-61A3-4780-9003-214464DBB88B}" type="presParOf" srcId="{4CE2E5A8-5DEF-4995-889B-CE6508DBE510}" destId="{CF463F72-D41C-4CCE-90EF-2EE8D043501E}" srcOrd="9" destOrd="0" presId="urn:microsoft.com/office/officeart/2008/layout/VerticalCurvedList"/>
    <dgm:cxn modelId="{39F94DF9-85A8-4EE8-ACBC-51C299AD2688}" type="presParOf" srcId="{4CE2E5A8-5DEF-4995-889B-CE6508DBE510}" destId="{A3017C46-4134-4FD0-A930-849B6EC32195}" srcOrd="10" destOrd="0" presId="urn:microsoft.com/office/officeart/2008/layout/VerticalCurvedList"/>
    <dgm:cxn modelId="{08E8E33A-3140-4513-AAF5-125E93CB8FBC}" type="presParOf" srcId="{A3017C46-4134-4FD0-A930-849B6EC32195}" destId="{B0D07764-F9C5-43E8-B28E-3E72D725A64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What are the different migration methods that you can use to migrate your on-premises database to Azure SQL Database?</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t>How is the fully managed service designed to enable seamless migrations called?</a:t>
          </a:r>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FBEAFB23-6C60-4C28-8822-930B9F528E8B}">
      <dgm:prSet/>
      <dgm:spPr/>
      <dgm:t>
        <a:bodyPr/>
        <a:lstStyle/>
        <a:p>
          <a:pPr>
            <a:buNone/>
          </a:pPr>
          <a:r>
            <a:rPr lang="en-US" dirty="0">
              <a:solidFill>
                <a:srgbClr val="FFFFFF"/>
              </a:solidFill>
            </a:rPr>
            <a:t>“I want to migrate my on-premises database to Azure SQL Database. The migration downtime can only be a few minutes.” Which migration method should I use?</a:t>
          </a:r>
          <a:endParaRPr lang="en-US" dirty="0"/>
        </a:p>
      </dgm:t>
    </dgm:pt>
    <dgm:pt modelId="{907F1852-DF38-4DFF-B9DF-8B37C669CC97}" type="parTrans" cxnId="{FABE9BD1-0725-4841-8A5F-A862AD0C6E6C}">
      <dgm:prSet/>
      <dgm:spPr/>
      <dgm:t>
        <a:bodyPr/>
        <a:lstStyle/>
        <a:p>
          <a:endParaRPr lang="en-US"/>
        </a:p>
      </dgm:t>
    </dgm:pt>
    <dgm:pt modelId="{537421F9-8D1A-47B7-866F-956B58815AA0}" type="sibTrans" cxnId="{FABE9BD1-0725-4841-8A5F-A862AD0C6E6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dgm:presLayoutVars>
          <dgm:chMax val="0"/>
          <dgm:bulletEnabled val="1"/>
        </dgm:presLayoutVars>
      </dgm:prSet>
      <dgm:spPr/>
    </dgm:pt>
    <dgm:pt modelId="{78080E49-0369-4F1D-8441-4AF0BE82E9D4}" type="pres">
      <dgm:prSet presAssocID="{AD379122-9DA8-482B-A8C0-ABBC422BBC25}" presName="spacer" presStyleCnt="0"/>
      <dgm:spPr/>
    </dgm:pt>
    <dgm:pt modelId="{D78D5B8C-516B-4BCF-A5AF-224A2ACCF1A0}" type="pres">
      <dgm:prSet presAssocID="{FBEAFB23-6C60-4C28-8822-930B9F528E8B}" presName="parentText" presStyleLbl="node1" presStyleIdx="2" presStyleCnt="3">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CB167FB3-F57C-4813-BD16-1D29005D06C6}" type="presOf" srcId="{FBEAFB23-6C60-4C28-8822-930B9F528E8B}" destId="{D78D5B8C-516B-4BCF-A5AF-224A2ACCF1A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FABE9BD1-0725-4841-8A5F-A862AD0C6E6C}" srcId="{15A7774C-B622-4F48-8F7B-AF1AAB74E997}" destId="{FBEAFB23-6C60-4C28-8822-930B9F528E8B}" srcOrd="2" destOrd="0" parTransId="{907F1852-DF38-4DFF-B9DF-8B37C669CC97}" sibTransId="{537421F9-8D1A-47B7-866F-956B58815AA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4A9C2136-5DD5-4206-8770-B19BA84ABFCE}" type="presParOf" srcId="{97400BD5-14CE-4761-8A6A-64BC46D23158}" destId="{78080E49-0369-4F1D-8441-4AF0BE82E9D4}" srcOrd="3" destOrd="0" presId="urn:microsoft.com/office/officeart/2005/8/layout/vList2"/>
    <dgm:cxn modelId="{88BA7F83-CFA1-41BC-9639-1AD310BC75A4}" type="presParOf" srcId="{97400BD5-14CE-4761-8A6A-64BC46D23158}" destId="{D78D5B8C-516B-4BCF-A5AF-224A2ACCF1A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66D0EAD-26BF-4310-A504-398429DEEAB1}" type="doc">
      <dgm:prSet loTypeId="urn:microsoft.com/office/officeart/2005/8/layout/venn1" loCatId="relationship" qsTypeId="urn:microsoft.com/office/officeart/2005/8/quickstyle/simple1" qsCatId="simple" csTypeId="urn:microsoft.com/office/officeart/2005/8/colors/accent1_1" csCatId="accent1"/>
      <dgm:spPr/>
      <dgm:t>
        <a:bodyPr/>
        <a:lstStyle/>
        <a:p>
          <a:endParaRPr lang="en-US"/>
        </a:p>
      </dgm:t>
    </dgm:pt>
    <dgm:pt modelId="{6A2D8CF7-A117-49A7-A8A0-3435FAF17311}">
      <dgm:prSet/>
      <dgm:spPr/>
      <dgm:t>
        <a:bodyPr/>
        <a:lstStyle/>
        <a:p>
          <a:r>
            <a:rPr lang="en-US" baseline="0"/>
            <a:t>SQL Data Sync is a service built on Azure SQL Database that lets you synchronize the data you select bi-directionally across multiple SQL databases and SQL Server instances.</a:t>
          </a:r>
          <a:endParaRPr lang="en-US"/>
        </a:p>
      </dgm:t>
    </dgm:pt>
    <dgm:pt modelId="{C0F879E8-7E74-48D7-BB5A-FFFC876BFAE0}" type="parTrans" cxnId="{4A072A2A-96D8-4357-A83C-FF3EEC041613}">
      <dgm:prSet/>
      <dgm:spPr/>
      <dgm:t>
        <a:bodyPr/>
        <a:lstStyle/>
        <a:p>
          <a:endParaRPr lang="en-US"/>
        </a:p>
      </dgm:t>
    </dgm:pt>
    <dgm:pt modelId="{9F962C85-593A-490D-8D43-3E97A6CA517E}" type="sibTrans" cxnId="{4A072A2A-96D8-4357-A83C-FF3EEC041613}">
      <dgm:prSet/>
      <dgm:spPr/>
      <dgm:t>
        <a:bodyPr/>
        <a:lstStyle/>
        <a:p>
          <a:endParaRPr lang="en-US"/>
        </a:p>
      </dgm:t>
    </dgm:pt>
    <dgm:pt modelId="{608D7EC0-7C93-4F16-B6D8-AF322EDE4687}" type="pres">
      <dgm:prSet presAssocID="{A66D0EAD-26BF-4310-A504-398429DEEAB1}" presName="compositeShape" presStyleCnt="0">
        <dgm:presLayoutVars>
          <dgm:chMax val="7"/>
          <dgm:dir/>
          <dgm:resizeHandles val="exact"/>
        </dgm:presLayoutVars>
      </dgm:prSet>
      <dgm:spPr/>
    </dgm:pt>
    <dgm:pt modelId="{A4FEB108-1954-4889-A9C2-42381010DE64}" type="pres">
      <dgm:prSet presAssocID="{6A2D8CF7-A117-49A7-A8A0-3435FAF17311}" presName="circ1TxSh" presStyleLbl="vennNode1" presStyleIdx="0" presStyleCnt="1"/>
      <dgm:spPr/>
    </dgm:pt>
  </dgm:ptLst>
  <dgm:cxnLst>
    <dgm:cxn modelId="{2E0B2C09-B992-423B-9757-1BCDFAE0CB24}" type="presOf" srcId="{6A2D8CF7-A117-49A7-A8A0-3435FAF17311}" destId="{A4FEB108-1954-4889-A9C2-42381010DE64}" srcOrd="0" destOrd="0" presId="urn:microsoft.com/office/officeart/2005/8/layout/venn1"/>
    <dgm:cxn modelId="{4A072A2A-96D8-4357-A83C-FF3EEC041613}" srcId="{A66D0EAD-26BF-4310-A504-398429DEEAB1}" destId="{6A2D8CF7-A117-49A7-A8A0-3435FAF17311}" srcOrd="0" destOrd="0" parTransId="{C0F879E8-7E74-48D7-BB5A-FFFC876BFAE0}" sibTransId="{9F962C85-593A-490D-8D43-3E97A6CA517E}"/>
    <dgm:cxn modelId="{95962B85-EC28-43F8-A7EB-7C13EE2ED23D}" type="presOf" srcId="{A66D0EAD-26BF-4310-A504-398429DEEAB1}" destId="{608D7EC0-7C93-4F16-B6D8-AF322EDE4687}" srcOrd="0" destOrd="0" presId="urn:microsoft.com/office/officeart/2005/8/layout/venn1"/>
    <dgm:cxn modelId="{675E22CC-90B8-4843-9256-EAB2D2AB5429}" type="presParOf" srcId="{608D7EC0-7C93-4F16-B6D8-AF322EDE4687}" destId="{A4FEB108-1954-4889-A9C2-42381010DE64}"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02F1DFF-A4AC-4710-8E09-FBEFCD3F6E47}" type="doc">
      <dgm:prSet loTypeId="urn:microsoft.com/office/officeart/2005/8/layout/hProcess4" loCatId="process" qsTypeId="urn:microsoft.com/office/officeart/2005/8/quickstyle/simple1" qsCatId="simple" csTypeId="urn:microsoft.com/office/officeart/2005/8/colors/colorful1" csCatId="colorful" phldr="1"/>
      <dgm:spPr/>
      <dgm:t>
        <a:bodyPr/>
        <a:lstStyle/>
        <a:p>
          <a:endParaRPr lang="nl-BE"/>
        </a:p>
      </dgm:t>
    </dgm:pt>
    <dgm:pt modelId="{C19F7B05-9941-45B5-A107-2688F415B94A}">
      <dgm:prSet/>
      <dgm:spPr>
        <a:xfrm>
          <a:off x="1102768" y="3167051"/>
          <a:ext cx="2613213" cy="1039188"/>
        </a:xfrm>
        <a:prstGeom prst="rect">
          <a:avLst/>
        </a:prstGeom>
      </dgm:spPr>
      <dgm:t>
        <a:bodyPr/>
        <a:lstStyle/>
        <a:p>
          <a:pPr>
            <a:buNone/>
          </a:pPr>
          <a:r>
            <a:rPr lang="en-US" b="1" baseline="0">
              <a:latin typeface="Segoe UI"/>
              <a:ea typeface="+mn-ea"/>
              <a:cs typeface="+mn-cs"/>
            </a:rPr>
            <a:t>Tracking data changes</a:t>
          </a:r>
          <a:endParaRPr lang="nl-BE" dirty="0">
            <a:latin typeface="Segoe UI"/>
            <a:ea typeface="+mn-ea"/>
            <a:cs typeface="+mn-cs"/>
          </a:endParaRPr>
        </a:p>
      </dgm:t>
    </dgm:pt>
    <dgm:pt modelId="{AEDAF3BB-1B09-4C46-86B1-18EC6137FA55}" type="parTrans" cxnId="{658A41E2-92A6-4DEE-8F12-A575AE1BE693}">
      <dgm:prSet/>
      <dgm:spPr/>
      <dgm:t>
        <a:bodyPr/>
        <a:lstStyle/>
        <a:p>
          <a:endParaRPr lang="nl-BE"/>
        </a:p>
      </dgm:t>
    </dgm:pt>
    <dgm:pt modelId="{2D3EB0A8-D6D9-4C9D-A7BD-CD547F0CB75B}" type="sibTrans" cxnId="{658A41E2-92A6-4DEE-8F12-A575AE1BE693}">
      <dgm:prSet/>
      <dgm:spPr>
        <a:xfrm>
          <a:off x="2069113" y="1722728"/>
          <a:ext cx="3414451" cy="3414451"/>
        </a:xfrm>
        <a:prstGeom prst="leftCircularArrow">
          <a:avLst>
            <a:gd name="adj1" fmla="val 3656"/>
            <a:gd name="adj2" fmla="val 455254"/>
            <a:gd name="adj3" fmla="val 2230765"/>
            <a:gd name="adj4" fmla="val 9024489"/>
            <a:gd name="adj5" fmla="val 4265"/>
          </a:avLst>
        </a:prstGeom>
      </dgm:spPr>
      <dgm:t>
        <a:bodyPr/>
        <a:lstStyle/>
        <a:p>
          <a:endParaRPr lang="nl-BE"/>
        </a:p>
      </dgm:t>
    </dgm:pt>
    <dgm:pt modelId="{A0A10C5D-A8B8-489F-9003-9330C525B42B}">
      <dgm:prSet custT="1"/>
      <dgm:spPr>
        <a:xfrm>
          <a:off x="449464" y="1261872"/>
          <a:ext cx="2939865" cy="2424773"/>
        </a:xfrm>
        <a:prstGeom prst="rect">
          <a:avLst/>
        </a:prstGeom>
      </dgm:spPr>
      <dgm:t>
        <a:bodyPr/>
        <a:lstStyle/>
        <a:p>
          <a:pPr>
            <a:buChar char="•"/>
          </a:pPr>
          <a:r>
            <a:rPr lang="en-US" sz="1600" baseline="0" dirty="0">
              <a:latin typeface="Segoe UI"/>
              <a:ea typeface="+mn-ea"/>
              <a:cs typeface="+mn-cs"/>
            </a:rPr>
            <a:t>Data Sync </a:t>
          </a:r>
          <a:r>
            <a:rPr lang="en-US" sz="1600" b="1" baseline="0" dirty="0">
              <a:latin typeface="Segoe UI"/>
              <a:ea typeface="+mn-ea"/>
              <a:cs typeface="+mn-cs"/>
            </a:rPr>
            <a:t>tracks</a:t>
          </a:r>
          <a:r>
            <a:rPr lang="en-US" sz="1600" baseline="0" dirty="0">
              <a:latin typeface="Segoe UI"/>
              <a:ea typeface="+mn-ea"/>
              <a:cs typeface="+mn-cs"/>
            </a:rPr>
            <a:t> changes using </a:t>
          </a:r>
          <a:r>
            <a:rPr lang="en-US" sz="1600" b="1" baseline="0" dirty="0">
              <a:latin typeface="Segoe UI"/>
              <a:ea typeface="+mn-ea"/>
              <a:cs typeface="+mn-cs"/>
            </a:rPr>
            <a:t>insert</a:t>
          </a:r>
          <a:r>
            <a:rPr lang="en-US" sz="1600" baseline="0" dirty="0">
              <a:latin typeface="Segoe UI"/>
              <a:ea typeface="+mn-ea"/>
              <a:cs typeface="+mn-cs"/>
            </a:rPr>
            <a:t>, </a:t>
          </a:r>
          <a:r>
            <a:rPr lang="en-US" sz="1600" b="1" baseline="0" dirty="0">
              <a:latin typeface="Segoe UI"/>
              <a:ea typeface="+mn-ea"/>
              <a:cs typeface="+mn-cs"/>
            </a:rPr>
            <a:t>update</a:t>
          </a:r>
          <a:r>
            <a:rPr lang="en-US" sz="1600" baseline="0" dirty="0">
              <a:latin typeface="Segoe UI"/>
              <a:ea typeface="+mn-ea"/>
              <a:cs typeface="+mn-cs"/>
            </a:rPr>
            <a:t>, and </a:t>
          </a:r>
          <a:r>
            <a:rPr lang="en-US" sz="1600" b="1" baseline="0" dirty="0">
              <a:latin typeface="Segoe UI"/>
              <a:ea typeface="+mn-ea"/>
              <a:cs typeface="+mn-cs"/>
            </a:rPr>
            <a:t>delete</a:t>
          </a:r>
          <a:r>
            <a:rPr lang="en-US" sz="1600" baseline="0" dirty="0">
              <a:latin typeface="Segoe UI"/>
              <a:ea typeface="+mn-ea"/>
              <a:cs typeface="+mn-cs"/>
            </a:rPr>
            <a:t> </a:t>
          </a:r>
          <a:r>
            <a:rPr lang="en-US" sz="1600" b="1" baseline="0" dirty="0">
              <a:latin typeface="Segoe UI"/>
              <a:ea typeface="+mn-ea"/>
              <a:cs typeface="+mn-cs"/>
            </a:rPr>
            <a:t>triggers</a:t>
          </a:r>
          <a:r>
            <a:rPr lang="en-US" sz="1600" baseline="0" dirty="0">
              <a:latin typeface="Segoe UI"/>
              <a:ea typeface="+mn-ea"/>
              <a:cs typeface="+mn-cs"/>
            </a:rPr>
            <a:t>. The changes are </a:t>
          </a:r>
          <a:r>
            <a:rPr lang="en-US" sz="1600" b="1" baseline="0" dirty="0">
              <a:latin typeface="Segoe UI"/>
              <a:ea typeface="+mn-ea"/>
              <a:cs typeface="+mn-cs"/>
            </a:rPr>
            <a:t>recorded</a:t>
          </a:r>
          <a:r>
            <a:rPr lang="en-US" sz="1600" baseline="0" dirty="0">
              <a:latin typeface="Segoe UI"/>
              <a:ea typeface="+mn-ea"/>
              <a:cs typeface="+mn-cs"/>
            </a:rPr>
            <a:t> in a side table in the </a:t>
          </a:r>
          <a:r>
            <a:rPr lang="en-US" sz="1600" b="1" baseline="0" dirty="0">
              <a:latin typeface="Segoe UI"/>
              <a:ea typeface="+mn-ea"/>
              <a:cs typeface="+mn-cs"/>
            </a:rPr>
            <a:t>user database</a:t>
          </a:r>
          <a:r>
            <a:rPr lang="en-US" sz="1600" baseline="0" dirty="0">
              <a:latin typeface="Segoe UI"/>
              <a:ea typeface="+mn-ea"/>
              <a:cs typeface="+mn-cs"/>
            </a:rPr>
            <a:t>.</a:t>
          </a:r>
          <a:endParaRPr lang="nl-BE" sz="1600" dirty="0">
            <a:latin typeface="Segoe UI"/>
            <a:ea typeface="+mn-ea"/>
            <a:cs typeface="+mn-cs"/>
          </a:endParaRPr>
        </a:p>
      </dgm:t>
    </dgm:pt>
    <dgm:pt modelId="{1B905192-AAC8-48AC-8A63-0AE724D57A77}" type="parTrans" cxnId="{3C07BF89-B0B5-4164-B09E-0EB9A97A6347}">
      <dgm:prSet/>
      <dgm:spPr/>
      <dgm:t>
        <a:bodyPr/>
        <a:lstStyle/>
        <a:p>
          <a:endParaRPr lang="nl-BE"/>
        </a:p>
      </dgm:t>
    </dgm:pt>
    <dgm:pt modelId="{C163A2A7-0A6C-4873-810A-FF1C9322A5A8}" type="sibTrans" cxnId="{3C07BF89-B0B5-4164-B09E-0EB9A97A6347}">
      <dgm:prSet/>
      <dgm:spPr/>
      <dgm:t>
        <a:bodyPr/>
        <a:lstStyle/>
        <a:p>
          <a:endParaRPr lang="nl-BE"/>
        </a:p>
      </dgm:t>
    </dgm:pt>
    <dgm:pt modelId="{64BE3B86-8C5A-4D18-854D-5D92AE0D0E4B}">
      <dgm:prSet/>
      <dgm:spPr>
        <a:xfrm>
          <a:off x="4963644" y="742277"/>
          <a:ext cx="2613213" cy="1039188"/>
        </a:xfrm>
        <a:prstGeom prst="rect">
          <a:avLst/>
        </a:prstGeom>
      </dgm:spPr>
      <dgm:t>
        <a:bodyPr/>
        <a:lstStyle/>
        <a:p>
          <a:pPr>
            <a:buNone/>
          </a:pPr>
          <a:r>
            <a:rPr lang="en-US" b="1" baseline="0">
              <a:latin typeface="Segoe UI"/>
              <a:ea typeface="+mn-ea"/>
              <a:cs typeface="+mn-cs"/>
            </a:rPr>
            <a:t>Synchronizing data</a:t>
          </a:r>
          <a:endParaRPr lang="nl-BE" dirty="0">
            <a:latin typeface="Segoe UI"/>
            <a:ea typeface="+mn-ea"/>
            <a:cs typeface="+mn-cs"/>
          </a:endParaRPr>
        </a:p>
      </dgm:t>
    </dgm:pt>
    <dgm:pt modelId="{15395A23-8A3B-4E84-A372-984B7D04F494}" type="parTrans" cxnId="{4AD3A4DB-AEBA-4D51-905D-6054FD2E446C}">
      <dgm:prSet/>
      <dgm:spPr/>
      <dgm:t>
        <a:bodyPr/>
        <a:lstStyle/>
        <a:p>
          <a:endParaRPr lang="nl-BE"/>
        </a:p>
      </dgm:t>
    </dgm:pt>
    <dgm:pt modelId="{4BBE3559-CB87-4E96-800D-32F7B3A359C0}" type="sibTrans" cxnId="{4AD3A4DB-AEBA-4D51-905D-6054FD2E446C}">
      <dgm:prSet/>
      <dgm:spPr>
        <a:xfrm>
          <a:off x="5905491" y="-283735"/>
          <a:ext cx="3790100" cy="3790100"/>
        </a:xfrm>
        <a:prstGeom prst="circularArrow">
          <a:avLst>
            <a:gd name="adj1" fmla="val 3293"/>
            <a:gd name="adj2" fmla="val 406605"/>
            <a:gd name="adj3" fmla="val 19417884"/>
            <a:gd name="adj4" fmla="val 12575511"/>
            <a:gd name="adj5" fmla="val 3842"/>
          </a:avLst>
        </a:prstGeom>
      </dgm:spPr>
      <dgm:t>
        <a:bodyPr/>
        <a:lstStyle/>
        <a:p>
          <a:endParaRPr lang="nl-BE"/>
        </a:p>
      </dgm:t>
    </dgm:pt>
    <dgm:pt modelId="{9E580655-5F6F-46CF-88FC-84566C44F105}">
      <dgm:prSet custT="1"/>
      <dgm:spPr>
        <a:xfrm>
          <a:off x="4310341" y="1261872"/>
          <a:ext cx="2939865" cy="2424773"/>
        </a:xfrm>
        <a:prstGeom prst="rect">
          <a:avLst/>
        </a:prstGeom>
      </dgm:spPr>
      <dgm:t>
        <a:bodyPr anchor="b"/>
        <a:lstStyle/>
        <a:p>
          <a:pPr>
            <a:buChar char="•"/>
          </a:pPr>
          <a:r>
            <a:rPr lang="en-US" sz="1400" baseline="0">
              <a:latin typeface="Segoe UI"/>
              <a:ea typeface="+mn-ea"/>
              <a:cs typeface="+mn-cs"/>
            </a:rPr>
            <a:t>Data Sync is designed in a </a:t>
          </a:r>
          <a:r>
            <a:rPr lang="en-US" sz="1400" b="1" baseline="0">
              <a:latin typeface="Segoe UI"/>
              <a:ea typeface="+mn-ea"/>
              <a:cs typeface="+mn-cs"/>
            </a:rPr>
            <a:t>Hub and Spoke model</a:t>
          </a:r>
          <a:r>
            <a:rPr lang="en-US" sz="1400" baseline="0">
              <a:latin typeface="Segoe UI"/>
              <a:ea typeface="+mn-ea"/>
              <a:cs typeface="+mn-cs"/>
            </a:rPr>
            <a:t>. The Hub syncs with each member individually. Changes </a:t>
          </a:r>
          <a:r>
            <a:rPr lang="en-US" sz="1400" b="1" baseline="0">
              <a:latin typeface="Segoe UI"/>
              <a:ea typeface="+mn-ea"/>
              <a:cs typeface="+mn-cs"/>
            </a:rPr>
            <a:t>from the Hub </a:t>
          </a:r>
          <a:r>
            <a:rPr lang="en-US" sz="1400" baseline="0">
              <a:latin typeface="Segoe UI"/>
              <a:ea typeface="+mn-ea"/>
              <a:cs typeface="+mn-cs"/>
            </a:rPr>
            <a:t>are </a:t>
          </a:r>
          <a:r>
            <a:rPr lang="en-US" sz="1400" b="1" baseline="0">
              <a:latin typeface="Segoe UI"/>
              <a:ea typeface="+mn-ea"/>
              <a:cs typeface="+mn-cs"/>
            </a:rPr>
            <a:t>downloaded</a:t>
          </a:r>
          <a:r>
            <a:rPr lang="en-US" sz="1400" baseline="0">
              <a:latin typeface="Segoe UI"/>
              <a:ea typeface="+mn-ea"/>
              <a:cs typeface="+mn-cs"/>
            </a:rPr>
            <a:t> to the </a:t>
          </a:r>
          <a:r>
            <a:rPr lang="en-US" sz="1400" b="1" baseline="0">
              <a:latin typeface="Segoe UI"/>
              <a:ea typeface="+mn-ea"/>
              <a:cs typeface="+mn-cs"/>
            </a:rPr>
            <a:t>member</a:t>
          </a:r>
          <a:r>
            <a:rPr lang="en-US" sz="1400" baseline="0">
              <a:latin typeface="Segoe UI"/>
              <a:ea typeface="+mn-ea"/>
              <a:cs typeface="+mn-cs"/>
            </a:rPr>
            <a:t> and then changes </a:t>
          </a:r>
          <a:r>
            <a:rPr lang="en-US" sz="1400" b="1" baseline="0">
              <a:latin typeface="Segoe UI"/>
              <a:ea typeface="+mn-ea"/>
              <a:cs typeface="+mn-cs"/>
            </a:rPr>
            <a:t>from the member </a:t>
          </a:r>
          <a:r>
            <a:rPr lang="en-US" sz="1400" baseline="0">
              <a:latin typeface="Segoe UI"/>
              <a:ea typeface="+mn-ea"/>
              <a:cs typeface="+mn-cs"/>
            </a:rPr>
            <a:t>are </a:t>
          </a:r>
          <a:r>
            <a:rPr lang="en-US" sz="1400" b="1" baseline="0">
              <a:latin typeface="Segoe UI"/>
              <a:ea typeface="+mn-ea"/>
              <a:cs typeface="+mn-cs"/>
            </a:rPr>
            <a:t>uploaded</a:t>
          </a:r>
          <a:r>
            <a:rPr lang="en-US" sz="1400" baseline="0">
              <a:latin typeface="Segoe UI"/>
              <a:ea typeface="+mn-ea"/>
              <a:cs typeface="+mn-cs"/>
            </a:rPr>
            <a:t> to the </a:t>
          </a:r>
          <a:r>
            <a:rPr lang="en-US" sz="1400" b="1" baseline="0">
              <a:latin typeface="Segoe UI"/>
              <a:ea typeface="+mn-ea"/>
              <a:cs typeface="+mn-cs"/>
            </a:rPr>
            <a:t>Hub</a:t>
          </a:r>
          <a:r>
            <a:rPr lang="en-US" sz="1400" baseline="0">
              <a:latin typeface="Segoe UI"/>
              <a:ea typeface="+mn-ea"/>
              <a:cs typeface="+mn-cs"/>
            </a:rPr>
            <a:t>.</a:t>
          </a:r>
          <a:endParaRPr lang="nl-BE" sz="1400" dirty="0">
            <a:latin typeface="Segoe UI"/>
            <a:ea typeface="+mn-ea"/>
            <a:cs typeface="+mn-cs"/>
          </a:endParaRPr>
        </a:p>
      </dgm:t>
    </dgm:pt>
    <dgm:pt modelId="{51D5F63F-F383-4199-91C9-5838C93E491B}" type="parTrans" cxnId="{3440025F-81CB-4C19-8363-3CC68B8A0635}">
      <dgm:prSet/>
      <dgm:spPr/>
      <dgm:t>
        <a:bodyPr/>
        <a:lstStyle/>
        <a:p>
          <a:endParaRPr lang="nl-BE"/>
        </a:p>
      </dgm:t>
    </dgm:pt>
    <dgm:pt modelId="{70F77073-65AF-47EB-9880-9AA489E9EE3D}" type="sibTrans" cxnId="{3440025F-81CB-4C19-8363-3CC68B8A0635}">
      <dgm:prSet/>
      <dgm:spPr/>
      <dgm:t>
        <a:bodyPr/>
        <a:lstStyle/>
        <a:p>
          <a:endParaRPr lang="nl-BE"/>
        </a:p>
      </dgm:t>
    </dgm:pt>
    <dgm:pt modelId="{F845250A-AEF6-41DF-BEAE-480758D8B89D}">
      <dgm:prSet/>
      <dgm:spPr>
        <a:xfrm>
          <a:off x="8824521" y="3167051"/>
          <a:ext cx="2613213" cy="1039188"/>
        </a:xfrm>
        <a:prstGeom prst="rect">
          <a:avLst/>
        </a:prstGeom>
      </dgm:spPr>
      <dgm:t>
        <a:bodyPr/>
        <a:lstStyle/>
        <a:p>
          <a:pPr>
            <a:buNone/>
          </a:pPr>
          <a:r>
            <a:rPr lang="en-US" b="1" baseline="0">
              <a:latin typeface="Segoe UI"/>
              <a:ea typeface="+mn-ea"/>
              <a:cs typeface="+mn-cs"/>
            </a:rPr>
            <a:t>Resolving conflicts</a:t>
          </a:r>
          <a:endParaRPr lang="nl-BE" dirty="0">
            <a:latin typeface="Segoe UI"/>
            <a:ea typeface="+mn-ea"/>
            <a:cs typeface="+mn-cs"/>
          </a:endParaRPr>
        </a:p>
      </dgm:t>
    </dgm:pt>
    <dgm:pt modelId="{0B350E48-1BCF-4847-B863-F9789C043EB6}" type="parTrans" cxnId="{A24F0037-CBA5-4189-AA28-D5F9A4E58E33}">
      <dgm:prSet/>
      <dgm:spPr/>
      <dgm:t>
        <a:bodyPr/>
        <a:lstStyle/>
        <a:p>
          <a:endParaRPr lang="nl-BE"/>
        </a:p>
      </dgm:t>
    </dgm:pt>
    <dgm:pt modelId="{B5C28546-8C36-43C4-8D40-B3D0DC2F0C77}" type="sibTrans" cxnId="{A24F0037-CBA5-4189-AA28-D5F9A4E58E33}">
      <dgm:prSet/>
      <dgm:spPr/>
      <dgm:t>
        <a:bodyPr/>
        <a:lstStyle/>
        <a:p>
          <a:endParaRPr lang="nl-BE"/>
        </a:p>
      </dgm:t>
    </dgm:pt>
    <dgm:pt modelId="{54D19D6F-A017-4F26-9882-F9DE623BE492}">
      <dgm:prSet custT="1"/>
      <dgm:spPr>
        <a:xfrm>
          <a:off x="8171218" y="1261872"/>
          <a:ext cx="2939865" cy="2424773"/>
        </a:xfrm>
        <a:prstGeom prst="rect">
          <a:avLst/>
        </a:prstGeom>
      </dgm:spPr>
      <dgm:t>
        <a:bodyPr/>
        <a:lstStyle/>
        <a:p>
          <a:pPr>
            <a:buChar char="•"/>
          </a:pPr>
          <a:r>
            <a:rPr lang="en-US" sz="2400" baseline="0">
              <a:latin typeface="Segoe UI"/>
              <a:ea typeface="+mn-ea"/>
              <a:cs typeface="+mn-cs"/>
            </a:rPr>
            <a:t>Hub wins</a:t>
          </a:r>
          <a:endParaRPr lang="nl-BE" sz="2400" dirty="0">
            <a:latin typeface="Segoe UI"/>
            <a:ea typeface="+mn-ea"/>
            <a:cs typeface="+mn-cs"/>
          </a:endParaRPr>
        </a:p>
      </dgm:t>
    </dgm:pt>
    <dgm:pt modelId="{2E3B7482-FAE8-4C34-AB1F-48E0C00D45CC}" type="parTrans" cxnId="{EFF31061-A81F-481F-B541-6CAF0EB9D357}">
      <dgm:prSet/>
      <dgm:spPr/>
      <dgm:t>
        <a:bodyPr/>
        <a:lstStyle/>
        <a:p>
          <a:endParaRPr lang="nl-BE"/>
        </a:p>
      </dgm:t>
    </dgm:pt>
    <dgm:pt modelId="{4398C9CF-ADDC-4FB6-98FB-CE97FF2A851A}" type="sibTrans" cxnId="{EFF31061-A81F-481F-B541-6CAF0EB9D357}">
      <dgm:prSet/>
      <dgm:spPr/>
      <dgm:t>
        <a:bodyPr/>
        <a:lstStyle/>
        <a:p>
          <a:endParaRPr lang="nl-BE"/>
        </a:p>
      </dgm:t>
    </dgm:pt>
    <dgm:pt modelId="{81B542FC-9D99-46AD-87C5-414E6A450B5B}">
      <dgm:prSet custT="1"/>
      <dgm:spPr>
        <a:xfrm>
          <a:off x="8171218" y="1261872"/>
          <a:ext cx="2939865" cy="2424773"/>
        </a:xfrm>
        <a:prstGeom prst="rect">
          <a:avLst/>
        </a:prstGeom>
      </dgm:spPr>
      <dgm:t>
        <a:bodyPr/>
        <a:lstStyle/>
        <a:p>
          <a:pPr>
            <a:buChar char="•"/>
          </a:pPr>
          <a:r>
            <a:rPr lang="en-US" sz="2400" baseline="0">
              <a:latin typeface="Segoe UI"/>
              <a:ea typeface="+mn-ea"/>
              <a:cs typeface="+mn-cs"/>
            </a:rPr>
            <a:t>Member wins</a:t>
          </a:r>
          <a:endParaRPr lang="nl-BE" sz="2400" dirty="0">
            <a:latin typeface="Segoe UI"/>
            <a:ea typeface="+mn-ea"/>
            <a:cs typeface="+mn-cs"/>
          </a:endParaRPr>
        </a:p>
      </dgm:t>
    </dgm:pt>
    <dgm:pt modelId="{0F27F952-E9EE-4AAD-9255-E99D93C898B3}" type="parTrans" cxnId="{DFFEFC09-0EA2-4A3F-8B3B-2C46D6AC7183}">
      <dgm:prSet/>
      <dgm:spPr/>
      <dgm:t>
        <a:bodyPr/>
        <a:lstStyle/>
        <a:p>
          <a:endParaRPr lang="nl-BE"/>
        </a:p>
      </dgm:t>
    </dgm:pt>
    <dgm:pt modelId="{8B04E6B7-63C7-4C42-A644-682393869552}" type="sibTrans" cxnId="{DFFEFC09-0EA2-4A3F-8B3B-2C46D6AC7183}">
      <dgm:prSet/>
      <dgm:spPr/>
      <dgm:t>
        <a:bodyPr/>
        <a:lstStyle/>
        <a:p>
          <a:endParaRPr lang="nl-BE"/>
        </a:p>
      </dgm:t>
    </dgm:pt>
    <dgm:pt modelId="{E08BCE9F-3E65-47B5-98F8-039510E1D7D8}" type="pres">
      <dgm:prSet presAssocID="{702F1DFF-A4AC-4710-8E09-FBEFCD3F6E47}" presName="Name0" presStyleCnt="0">
        <dgm:presLayoutVars>
          <dgm:dir/>
          <dgm:animLvl val="lvl"/>
          <dgm:resizeHandles val="exact"/>
        </dgm:presLayoutVars>
      </dgm:prSet>
      <dgm:spPr/>
    </dgm:pt>
    <dgm:pt modelId="{1B2945DC-552D-49A6-A592-718DDF54E10C}" type="pres">
      <dgm:prSet presAssocID="{702F1DFF-A4AC-4710-8E09-FBEFCD3F6E47}" presName="tSp" presStyleCnt="0"/>
      <dgm:spPr/>
    </dgm:pt>
    <dgm:pt modelId="{12C10BC2-7EAB-413C-A5B0-3986AE189F4D}" type="pres">
      <dgm:prSet presAssocID="{702F1DFF-A4AC-4710-8E09-FBEFCD3F6E47}" presName="bSp" presStyleCnt="0"/>
      <dgm:spPr/>
    </dgm:pt>
    <dgm:pt modelId="{6D3A7835-97F1-4D80-89D3-2F07A5D80F61}" type="pres">
      <dgm:prSet presAssocID="{702F1DFF-A4AC-4710-8E09-FBEFCD3F6E47}" presName="process" presStyleCnt="0"/>
      <dgm:spPr/>
    </dgm:pt>
    <dgm:pt modelId="{7A11A1E1-66CB-4585-9BB3-6856BDA89B78}" type="pres">
      <dgm:prSet presAssocID="{C19F7B05-9941-45B5-A107-2688F415B94A}" presName="composite1" presStyleCnt="0"/>
      <dgm:spPr/>
    </dgm:pt>
    <dgm:pt modelId="{5C7AB803-522D-48A3-A4E3-42D4EC1A4BD4}" type="pres">
      <dgm:prSet presAssocID="{C19F7B05-9941-45B5-A107-2688F415B94A}" presName="dummyNode1" presStyleLbl="node1" presStyleIdx="0" presStyleCnt="3"/>
      <dgm:spPr/>
    </dgm:pt>
    <dgm:pt modelId="{1F4E388C-6B98-4514-A32A-0D9CF7EF5349}" type="pres">
      <dgm:prSet presAssocID="{C19F7B05-9941-45B5-A107-2688F415B94A}" presName="childNode1" presStyleLbl="bgAcc1" presStyleIdx="0" presStyleCnt="3">
        <dgm:presLayoutVars>
          <dgm:bulletEnabled val="1"/>
        </dgm:presLayoutVars>
      </dgm:prSet>
      <dgm:spPr>
        <a:prstGeom prst="rect">
          <a:avLst/>
        </a:prstGeom>
      </dgm:spPr>
    </dgm:pt>
    <dgm:pt modelId="{EF8B0C0C-58D7-4F8F-8C9A-48C8627226F3}" type="pres">
      <dgm:prSet presAssocID="{C19F7B05-9941-45B5-A107-2688F415B94A}" presName="childNode1tx" presStyleLbl="bgAcc1" presStyleIdx="0" presStyleCnt="3">
        <dgm:presLayoutVars>
          <dgm:bulletEnabled val="1"/>
        </dgm:presLayoutVars>
      </dgm:prSet>
      <dgm:spPr/>
    </dgm:pt>
    <dgm:pt modelId="{413CC0F7-20EB-44FD-A27B-85F3E8928937}" type="pres">
      <dgm:prSet presAssocID="{C19F7B05-9941-45B5-A107-2688F415B94A}" presName="parentNode1" presStyleLbl="node1" presStyleIdx="0" presStyleCnt="3" custLinFactNeighborX="-1343" custLinFactNeighborY="33336">
        <dgm:presLayoutVars>
          <dgm:chMax val="1"/>
          <dgm:bulletEnabled val="1"/>
        </dgm:presLayoutVars>
      </dgm:prSet>
      <dgm:spPr>
        <a:prstGeom prst="rect">
          <a:avLst/>
        </a:prstGeom>
      </dgm:spPr>
    </dgm:pt>
    <dgm:pt modelId="{25B0091E-99A4-4BB7-9A7F-2845FF5A3D1C}" type="pres">
      <dgm:prSet presAssocID="{C19F7B05-9941-45B5-A107-2688F415B94A}" presName="connSite1" presStyleCnt="0"/>
      <dgm:spPr/>
    </dgm:pt>
    <dgm:pt modelId="{FC6BF989-F978-46B3-B4B6-8AFB28489C7A}" type="pres">
      <dgm:prSet presAssocID="{2D3EB0A8-D6D9-4C9D-A7BD-CD547F0CB75B}" presName="Name9" presStyleLbl="sibTrans2D1" presStyleIdx="0" presStyleCnt="2" custLinFactNeighborY="-2711"/>
      <dgm:spPr/>
    </dgm:pt>
    <dgm:pt modelId="{66F99952-1048-4ED9-B3B2-86390A3B4540}" type="pres">
      <dgm:prSet presAssocID="{64BE3B86-8C5A-4D18-854D-5D92AE0D0E4B}" presName="composite2" presStyleCnt="0"/>
      <dgm:spPr/>
    </dgm:pt>
    <dgm:pt modelId="{CDE2FB9F-75B3-4F23-AA94-B630E99CD1EB}" type="pres">
      <dgm:prSet presAssocID="{64BE3B86-8C5A-4D18-854D-5D92AE0D0E4B}" presName="dummyNode2" presStyleLbl="node1" presStyleIdx="0" presStyleCnt="3"/>
      <dgm:spPr/>
    </dgm:pt>
    <dgm:pt modelId="{BDB0CB65-776C-42C0-8AAD-DC8078AEB59C}" type="pres">
      <dgm:prSet presAssocID="{64BE3B86-8C5A-4D18-854D-5D92AE0D0E4B}" presName="childNode2" presStyleLbl="bgAcc1" presStyleIdx="1" presStyleCnt="3" custScaleY="102556" custLinFactNeighborY="2033">
        <dgm:presLayoutVars>
          <dgm:bulletEnabled val="1"/>
        </dgm:presLayoutVars>
      </dgm:prSet>
      <dgm:spPr>
        <a:prstGeom prst="rect">
          <a:avLst/>
        </a:prstGeom>
      </dgm:spPr>
    </dgm:pt>
    <dgm:pt modelId="{C5240442-9ABC-4A2A-8DCF-AE37E393B032}" type="pres">
      <dgm:prSet presAssocID="{64BE3B86-8C5A-4D18-854D-5D92AE0D0E4B}" presName="childNode2tx" presStyleLbl="bgAcc1" presStyleIdx="1" presStyleCnt="3">
        <dgm:presLayoutVars>
          <dgm:bulletEnabled val="1"/>
        </dgm:presLayoutVars>
      </dgm:prSet>
      <dgm:spPr/>
    </dgm:pt>
    <dgm:pt modelId="{4302A472-C347-454B-9140-B0C316380FA7}" type="pres">
      <dgm:prSet presAssocID="{64BE3B86-8C5A-4D18-854D-5D92AE0D0E4B}" presName="parentNode2" presStyleLbl="node1" presStyleIdx="1" presStyleCnt="3" custLinFactNeighborX="284" custLinFactNeighborY="-25762">
        <dgm:presLayoutVars>
          <dgm:chMax val="0"/>
          <dgm:bulletEnabled val="1"/>
        </dgm:presLayoutVars>
      </dgm:prSet>
      <dgm:spPr>
        <a:prstGeom prst="rect">
          <a:avLst/>
        </a:prstGeom>
      </dgm:spPr>
    </dgm:pt>
    <dgm:pt modelId="{F31EB9E9-F480-49D4-9DB0-BCA731D07BC0}" type="pres">
      <dgm:prSet presAssocID="{64BE3B86-8C5A-4D18-854D-5D92AE0D0E4B}" presName="connSite2" presStyleCnt="0"/>
      <dgm:spPr/>
    </dgm:pt>
    <dgm:pt modelId="{C7B578CD-9829-4E5E-BD98-C536AB7DBE83}" type="pres">
      <dgm:prSet presAssocID="{4BBE3559-CB87-4E96-800D-32F7B3A359C0}" presName="Name18" presStyleLbl="sibTrans2D1" presStyleIdx="1" presStyleCnt="2" custLinFactNeighborY="8696"/>
      <dgm:spPr/>
    </dgm:pt>
    <dgm:pt modelId="{C3E233B8-81C2-4B81-9C8F-09E1D84D3375}" type="pres">
      <dgm:prSet presAssocID="{F845250A-AEF6-41DF-BEAE-480758D8B89D}" presName="composite1" presStyleCnt="0"/>
      <dgm:spPr/>
    </dgm:pt>
    <dgm:pt modelId="{100148AD-89EC-4256-A732-AC405296E96C}" type="pres">
      <dgm:prSet presAssocID="{F845250A-AEF6-41DF-BEAE-480758D8B89D}" presName="dummyNode1" presStyleLbl="node1" presStyleIdx="1" presStyleCnt="3"/>
      <dgm:spPr/>
    </dgm:pt>
    <dgm:pt modelId="{0899E82A-16EE-4280-A22B-3F89B30A5253}" type="pres">
      <dgm:prSet presAssocID="{F845250A-AEF6-41DF-BEAE-480758D8B89D}" presName="childNode1" presStyleLbl="bgAcc1" presStyleIdx="2" presStyleCnt="3">
        <dgm:presLayoutVars>
          <dgm:bulletEnabled val="1"/>
        </dgm:presLayoutVars>
      </dgm:prSet>
      <dgm:spPr>
        <a:prstGeom prst="rect">
          <a:avLst/>
        </a:prstGeom>
      </dgm:spPr>
    </dgm:pt>
    <dgm:pt modelId="{02EE4B82-E8BB-4ED0-9BE3-A76A2CE32E60}" type="pres">
      <dgm:prSet presAssocID="{F845250A-AEF6-41DF-BEAE-480758D8B89D}" presName="childNode1tx" presStyleLbl="bgAcc1" presStyleIdx="2" presStyleCnt="3">
        <dgm:presLayoutVars>
          <dgm:bulletEnabled val="1"/>
        </dgm:presLayoutVars>
      </dgm:prSet>
      <dgm:spPr/>
    </dgm:pt>
    <dgm:pt modelId="{4951BF6D-996E-4824-A47C-804E63481561}" type="pres">
      <dgm:prSet presAssocID="{F845250A-AEF6-41DF-BEAE-480758D8B89D}" presName="parentNode1" presStyleLbl="node1" presStyleIdx="2" presStyleCnt="3">
        <dgm:presLayoutVars>
          <dgm:chMax val="1"/>
          <dgm:bulletEnabled val="1"/>
        </dgm:presLayoutVars>
      </dgm:prSet>
      <dgm:spPr>
        <a:prstGeom prst="rect">
          <a:avLst/>
        </a:prstGeom>
      </dgm:spPr>
    </dgm:pt>
    <dgm:pt modelId="{2AE59E55-0100-4155-8FFF-20B6FDA28247}" type="pres">
      <dgm:prSet presAssocID="{F845250A-AEF6-41DF-BEAE-480758D8B89D}" presName="connSite1" presStyleCnt="0"/>
      <dgm:spPr/>
    </dgm:pt>
  </dgm:ptLst>
  <dgm:cxnLst>
    <dgm:cxn modelId="{1C3B0C08-46CE-479A-8396-B9F92216F567}" type="presOf" srcId="{81B542FC-9D99-46AD-87C5-414E6A450B5B}" destId="{02EE4B82-E8BB-4ED0-9BE3-A76A2CE32E60}" srcOrd="1" destOrd="1" presId="urn:microsoft.com/office/officeart/2005/8/layout/hProcess4"/>
    <dgm:cxn modelId="{DFFEFC09-0EA2-4A3F-8B3B-2C46D6AC7183}" srcId="{F845250A-AEF6-41DF-BEAE-480758D8B89D}" destId="{81B542FC-9D99-46AD-87C5-414E6A450B5B}" srcOrd="1" destOrd="0" parTransId="{0F27F952-E9EE-4AAD-9255-E99D93C898B3}" sibTransId="{8B04E6B7-63C7-4C42-A644-682393869552}"/>
    <dgm:cxn modelId="{08B61E16-629A-4D77-8B8B-9A34931E2CAD}" type="presOf" srcId="{2D3EB0A8-D6D9-4C9D-A7BD-CD547F0CB75B}" destId="{FC6BF989-F978-46B3-B4B6-8AFB28489C7A}" srcOrd="0" destOrd="0" presId="urn:microsoft.com/office/officeart/2005/8/layout/hProcess4"/>
    <dgm:cxn modelId="{2BB5E231-4D26-478A-9C96-F8636D4613F7}" type="presOf" srcId="{4BBE3559-CB87-4E96-800D-32F7B3A359C0}" destId="{C7B578CD-9829-4E5E-BD98-C536AB7DBE83}" srcOrd="0" destOrd="0" presId="urn:microsoft.com/office/officeart/2005/8/layout/hProcess4"/>
    <dgm:cxn modelId="{F0197F34-9992-4D1E-B3FA-AE9F3967FF76}" type="presOf" srcId="{54D19D6F-A017-4F26-9882-F9DE623BE492}" destId="{0899E82A-16EE-4280-A22B-3F89B30A5253}" srcOrd="0" destOrd="0" presId="urn:microsoft.com/office/officeart/2005/8/layout/hProcess4"/>
    <dgm:cxn modelId="{A24F0037-CBA5-4189-AA28-D5F9A4E58E33}" srcId="{702F1DFF-A4AC-4710-8E09-FBEFCD3F6E47}" destId="{F845250A-AEF6-41DF-BEAE-480758D8B89D}" srcOrd="2" destOrd="0" parTransId="{0B350E48-1BCF-4847-B863-F9789C043EB6}" sibTransId="{B5C28546-8C36-43C4-8D40-B3D0DC2F0C77}"/>
    <dgm:cxn modelId="{FC6EFC37-A820-4253-9EAD-B0E256CBE355}" type="presOf" srcId="{C19F7B05-9941-45B5-A107-2688F415B94A}" destId="{413CC0F7-20EB-44FD-A27B-85F3E8928937}" srcOrd="0" destOrd="0" presId="urn:microsoft.com/office/officeart/2005/8/layout/hProcess4"/>
    <dgm:cxn modelId="{756A723F-06D0-42D8-8502-E13DEFDB04E9}" type="presOf" srcId="{A0A10C5D-A8B8-489F-9003-9330C525B42B}" destId="{EF8B0C0C-58D7-4F8F-8C9A-48C8627226F3}" srcOrd="1" destOrd="0" presId="urn:microsoft.com/office/officeart/2005/8/layout/hProcess4"/>
    <dgm:cxn modelId="{3440025F-81CB-4C19-8363-3CC68B8A0635}" srcId="{64BE3B86-8C5A-4D18-854D-5D92AE0D0E4B}" destId="{9E580655-5F6F-46CF-88FC-84566C44F105}" srcOrd="0" destOrd="0" parTransId="{51D5F63F-F383-4199-91C9-5838C93E491B}" sibTransId="{70F77073-65AF-47EB-9880-9AA489E9EE3D}"/>
    <dgm:cxn modelId="{EFF31061-A81F-481F-B541-6CAF0EB9D357}" srcId="{F845250A-AEF6-41DF-BEAE-480758D8B89D}" destId="{54D19D6F-A017-4F26-9882-F9DE623BE492}" srcOrd="0" destOrd="0" parTransId="{2E3B7482-FAE8-4C34-AB1F-48E0C00D45CC}" sibTransId="{4398C9CF-ADDC-4FB6-98FB-CE97FF2A851A}"/>
    <dgm:cxn modelId="{E4E26C64-483A-4CB2-A8A7-47DE999FFC90}" type="presOf" srcId="{702F1DFF-A4AC-4710-8E09-FBEFCD3F6E47}" destId="{E08BCE9F-3E65-47B5-98F8-039510E1D7D8}" srcOrd="0" destOrd="0" presId="urn:microsoft.com/office/officeart/2005/8/layout/hProcess4"/>
    <dgm:cxn modelId="{2916D879-1E18-4B9F-AB9E-51446E70BD5C}" type="presOf" srcId="{9E580655-5F6F-46CF-88FC-84566C44F105}" destId="{C5240442-9ABC-4A2A-8DCF-AE37E393B032}" srcOrd="1" destOrd="0" presId="urn:microsoft.com/office/officeart/2005/8/layout/hProcess4"/>
    <dgm:cxn modelId="{3C07BF89-B0B5-4164-B09E-0EB9A97A6347}" srcId="{C19F7B05-9941-45B5-A107-2688F415B94A}" destId="{A0A10C5D-A8B8-489F-9003-9330C525B42B}" srcOrd="0" destOrd="0" parTransId="{1B905192-AAC8-48AC-8A63-0AE724D57A77}" sibTransId="{C163A2A7-0A6C-4873-810A-FF1C9322A5A8}"/>
    <dgm:cxn modelId="{5BB6129E-8F4F-4380-A8C3-CA7D4B77E0D3}" type="presOf" srcId="{54D19D6F-A017-4F26-9882-F9DE623BE492}" destId="{02EE4B82-E8BB-4ED0-9BE3-A76A2CE32E60}" srcOrd="1" destOrd="0" presId="urn:microsoft.com/office/officeart/2005/8/layout/hProcess4"/>
    <dgm:cxn modelId="{5B8EF8BA-E552-4A38-971E-CEEBB43BF608}" type="presOf" srcId="{9E580655-5F6F-46CF-88FC-84566C44F105}" destId="{BDB0CB65-776C-42C0-8AAD-DC8078AEB59C}" srcOrd="0" destOrd="0" presId="urn:microsoft.com/office/officeart/2005/8/layout/hProcess4"/>
    <dgm:cxn modelId="{4AD3A4DB-AEBA-4D51-905D-6054FD2E446C}" srcId="{702F1DFF-A4AC-4710-8E09-FBEFCD3F6E47}" destId="{64BE3B86-8C5A-4D18-854D-5D92AE0D0E4B}" srcOrd="1" destOrd="0" parTransId="{15395A23-8A3B-4E84-A372-984B7D04F494}" sibTransId="{4BBE3559-CB87-4E96-800D-32F7B3A359C0}"/>
    <dgm:cxn modelId="{FDDCD6DF-9499-4AA8-9FE5-7969D5584DC4}" type="presOf" srcId="{81B542FC-9D99-46AD-87C5-414E6A450B5B}" destId="{0899E82A-16EE-4280-A22B-3F89B30A5253}" srcOrd="0" destOrd="1" presId="urn:microsoft.com/office/officeart/2005/8/layout/hProcess4"/>
    <dgm:cxn modelId="{658A41E2-92A6-4DEE-8F12-A575AE1BE693}" srcId="{702F1DFF-A4AC-4710-8E09-FBEFCD3F6E47}" destId="{C19F7B05-9941-45B5-A107-2688F415B94A}" srcOrd="0" destOrd="0" parTransId="{AEDAF3BB-1B09-4C46-86B1-18EC6137FA55}" sibTransId="{2D3EB0A8-D6D9-4C9D-A7BD-CD547F0CB75B}"/>
    <dgm:cxn modelId="{D31817F3-3FE9-447E-8823-6B548EA770CE}" type="presOf" srcId="{A0A10C5D-A8B8-489F-9003-9330C525B42B}" destId="{1F4E388C-6B98-4514-A32A-0D9CF7EF5349}" srcOrd="0" destOrd="0" presId="urn:microsoft.com/office/officeart/2005/8/layout/hProcess4"/>
    <dgm:cxn modelId="{64F1ADF7-107A-4EDE-ABDB-0FD692780106}" type="presOf" srcId="{F845250A-AEF6-41DF-BEAE-480758D8B89D}" destId="{4951BF6D-996E-4824-A47C-804E63481561}" srcOrd="0" destOrd="0" presId="urn:microsoft.com/office/officeart/2005/8/layout/hProcess4"/>
    <dgm:cxn modelId="{887111F9-1CC3-4773-9708-E871764D975F}" type="presOf" srcId="{64BE3B86-8C5A-4D18-854D-5D92AE0D0E4B}" destId="{4302A472-C347-454B-9140-B0C316380FA7}" srcOrd="0" destOrd="0" presId="urn:microsoft.com/office/officeart/2005/8/layout/hProcess4"/>
    <dgm:cxn modelId="{C489EE03-92A9-45B2-8E7E-21C809EE482A}" type="presParOf" srcId="{E08BCE9F-3E65-47B5-98F8-039510E1D7D8}" destId="{1B2945DC-552D-49A6-A592-718DDF54E10C}" srcOrd="0" destOrd="0" presId="urn:microsoft.com/office/officeart/2005/8/layout/hProcess4"/>
    <dgm:cxn modelId="{A7400922-68CB-46DF-A77E-6F0151E9CE70}" type="presParOf" srcId="{E08BCE9F-3E65-47B5-98F8-039510E1D7D8}" destId="{12C10BC2-7EAB-413C-A5B0-3986AE189F4D}" srcOrd="1" destOrd="0" presId="urn:microsoft.com/office/officeart/2005/8/layout/hProcess4"/>
    <dgm:cxn modelId="{28F97372-FA93-44FB-A7FF-3049B19FABED}" type="presParOf" srcId="{E08BCE9F-3E65-47B5-98F8-039510E1D7D8}" destId="{6D3A7835-97F1-4D80-89D3-2F07A5D80F61}" srcOrd="2" destOrd="0" presId="urn:microsoft.com/office/officeart/2005/8/layout/hProcess4"/>
    <dgm:cxn modelId="{8B37F6D2-6EEA-4C5C-9EA0-A8718B1A46AD}" type="presParOf" srcId="{6D3A7835-97F1-4D80-89D3-2F07A5D80F61}" destId="{7A11A1E1-66CB-4585-9BB3-6856BDA89B78}" srcOrd="0" destOrd="0" presId="urn:microsoft.com/office/officeart/2005/8/layout/hProcess4"/>
    <dgm:cxn modelId="{D8DAA405-57C6-486F-8FDE-C1C89BBE64F4}" type="presParOf" srcId="{7A11A1E1-66CB-4585-9BB3-6856BDA89B78}" destId="{5C7AB803-522D-48A3-A4E3-42D4EC1A4BD4}" srcOrd="0" destOrd="0" presId="urn:microsoft.com/office/officeart/2005/8/layout/hProcess4"/>
    <dgm:cxn modelId="{854878B0-7125-4050-AAE1-FE27E85176D9}" type="presParOf" srcId="{7A11A1E1-66CB-4585-9BB3-6856BDA89B78}" destId="{1F4E388C-6B98-4514-A32A-0D9CF7EF5349}" srcOrd="1" destOrd="0" presId="urn:microsoft.com/office/officeart/2005/8/layout/hProcess4"/>
    <dgm:cxn modelId="{B5CDD837-F894-491D-BAE8-799F5EA35D87}" type="presParOf" srcId="{7A11A1E1-66CB-4585-9BB3-6856BDA89B78}" destId="{EF8B0C0C-58D7-4F8F-8C9A-48C8627226F3}" srcOrd="2" destOrd="0" presId="urn:microsoft.com/office/officeart/2005/8/layout/hProcess4"/>
    <dgm:cxn modelId="{A5DBF1CB-88FB-4E96-839D-49903EB82963}" type="presParOf" srcId="{7A11A1E1-66CB-4585-9BB3-6856BDA89B78}" destId="{413CC0F7-20EB-44FD-A27B-85F3E8928937}" srcOrd="3" destOrd="0" presId="urn:microsoft.com/office/officeart/2005/8/layout/hProcess4"/>
    <dgm:cxn modelId="{CB2ECEAD-0C80-42CF-9CED-3C4222F79CED}" type="presParOf" srcId="{7A11A1E1-66CB-4585-9BB3-6856BDA89B78}" destId="{25B0091E-99A4-4BB7-9A7F-2845FF5A3D1C}" srcOrd="4" destOrd="0" presId="urn:microsoft.com/office/officeart/2005/8/layout/hProcess4"/>
    <dgm:cxn modelId="{E98D8E68-8295-461F-8137-A71CA1F09032}" type="presParOf" srcId="{6D3A7835-97F1-4D80-89D3-2F07A5D80F61}" destId="{FC6BF989-F978-46B3-B4B6-8AFB28489C7A}" srcOrd="1" destOrd="0" presId="urn:microsoft.com/office/officeart/2005/8/layout/hProcess4"/>
    <dgm:cxn modelId="{B67D0D0D-6584-45AA-B66B-91DF73BA169F}" type="presParOf" srcId="{6D3A7835-97F1-4D80-89D3-2F07A5D80F61}" destId="{66F99952-1048-4ED9-B3B2-86390A3B4540}" srcOrd="2" destOrd="0" presId="urn:microsoft.com/office/officeart/2005/8/layout/hProcess4"/>
    <dgm:cxn modelId="{62D0006A-9BA9-49C7-BAD3-8E68415E5332}" type="presParOf" srcId="{66F99952-1048-4ED9-B3B2-86390A3B4540}" destId="{CDE2FB9F-75B3-4F23-AA94-B630E99CD1EB}" srcOrd="0" destOrd="0" presId="urn:microsoft.com/office/officeart/2005/8/layout/hProcess4"/>
    <dgm:cxn modelId="{B36CC1C6-4A50-4405-A2C1-0A649D07DB27}" type="presParOf" srcId="{66F99952-1048-4ED9-B3B2-86390A3B4540}" destId="{BDB0CB65-776C-42C0-8AAD-DC8078AEB59C}" srcOrd="1" destOrd="0" presId="urn:microsoft.com/office/officeart/2005/8/layout/hProcess4"/>
    <dgm:cxn modelId="{897D07B2-1618-4FB1-99D7-41906398C577}" type="presParOf" srcId="{66F99952-1048-4ED9-B3B2-86390A3B4540}" destId="{C5240442-9ABC-4A2A-8DCF-AE37E393B032}" srcOrd="2" destOrd="0" presId="urn:microsoft.com/office/officeart/2005/8/layout/hProcess4"/>
    <dgm:cxn modelId="{36D29231-EE16-4F7E-9328-4DA24D7AA715}" type="presParOf" srcId="{66F99952-1048-4ED9-B3B2-86390A3B4540}" destId="{4302A472-C347-454B-9140-B0C316380FA7}" srcOrd="3" destOrd="0" presId="urn:microsoft.com/office/officeart/2005/8/layout/hProcess4"/>
    <dgm:cxn modelId="{27896A31-8F9E-4D28-A16A-738B8184A594}" type="presParOf" srcId="{66F99952-1048-4ED9-B3B2-86390A3B4540}" destId="{F31EB9E9-F480-49D4-9DB0-BCA731D07BC0}" srcOrd="4" destOrd="0" presId="urn:microsoft.com/office/officeart/2005/8/layout/hProcess4"/>
    <dgm:cxn modelId="{38800F72-36CC-48B5-A439-3AA6662DE4C6}" type="presParOf" srcId="{6D3A7835-97F1-4D80-89D3-2F07A5D80F61}" destId="{C7B578CD-9829-4E5E-BD98-C536AB7DBE83}" srcOrd="3" destOrd="0" presId="urn:microsoft.com/office/officeart/2005/8/layout/hProcess4"/>
    <dgm:cxn modelId="{7843FA89-B9B2-4B28-9FE7-0F39A92F5196}" type="presParOf" srcId="{6D3A7835-97F1-4D80-89D3-2F07A5D80F61}" destId="{C3E233B8-81C2-4B81-9C8F-09E1D84D3375}" srcOrd="4" destOrd="0" presId="urn:microsoft.com/office/officeart/2005/8/layout/hProcess4"/>
    <dgm:cxn modelId="{222A0F99-2201-4271-A0A8-3F29A8831FCE}" type="presParOf" srcId="{C3E233B8-81C2-4B81-9C8F-09E1D84D3375}" destId="{100148AD-89EC-4256-A732-AC405296E96C}" srcOrd="0" destOrd="0" presId="urn:microsoft.com/office/officeart/2005/8/layout/hProcess4"/>
    <dgm:cxn modelId="{958D0348-C27F-46F4-BC4E-324FCDCF6765}" type="presParOf" srcId="{C3E233B8-81C2-4B81-9C8F-09E1D84D3375}" destId="{0899E82A-16EE-4280-A22B-3F89B30A5253}" srcOrd="1" destOrd="0" presId="urn:microsoft.com/office/officeart/2005/8/layout/hProcess4"/>
    <dgm:cxn modelId="{B709FFF0-8860-47E6-ACB7-CC8D58FCF9DE}" type="presParOf" srcId="{C3E233B8-81C2-4B81-9C8F-09E1D84D3375}" destId="{02EE4B82-E8BB-4ED0-9BE3-A76A2CE32E60}" srcOrd="2" destOrd="0" presId="urn:microsoft.com/office/officeart/2005/8/layout/hProcess4"/>
    <dgm:cxn modelId="{1B1227D8-612A-4595-BD66-88E1AC8F3473}" type="presParOf" srcId="{C3E233B8-81C2-4B81-9C8F-09E1D84D3375}" destId="{4951BF6D-996E-4824-A47C-804E63481561}" srcOrd="3" destOrd="0" presId="urn:microsoft.com/office/officeart/2005/8/layout/hProcess4"/>
    <dgm:cxn modelId="{4D692E68-2680-41D1-AEB7-777230295B8D}" type="presParOf" srcId="{C3E233B8-81C2-4B81-9C8F-09E1D84D3375}" destId="{2AE59E55-0100-4155-8FFF-20B6FDA28247}"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E91018E-CC09-4568-8713-A5BF482BF321}"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63E28DA3-1D9D-40C7-B036-94581E6B867C}">
      <dgm:prSet custT="1"/>
      <dgm:spPr/>
      <dgm:t>
        <a:bodyPr/>
        <a:lstStyle/>
        <a:p>
          <a:r>
            <a:rPr lang="en-US" sz="2400" baseline="0" dirty="0"/>
            <a:t>Hybrid Data Synchronization</a:t>
          </a:r>
          <a:endParaRPr lang="en-US" sz="2400" dirty="0"/>
        </a:p>
      </dgm:t>
    </dgm:pt>
    <dgm:pt modelId="{CAF48491-C90B-40EF-871E-33F8E6025C24}" type="parTrans" cxnId="{1502B199-5133-4C63-B3D3-A827AADA1EA5}">
      <dgm:prSet/>
      <dgm:spPr/>
      <dgm:t>
        <a:bodyPr/>
        <a:lstStyle/>
        <a:p>
          <a:endParaRPr lang="en-US"/>
        </a:p>
      </dgm:t>
    </dgm:pt>
    <dgm:pt modelId="{C0E19779-80A3-4FC9-A988-30470E886047}" type="sibTrans" cxnId="{1502B199-5133-4C63-B3D3-A827AADA1EA5}">
      <dgm:prSet/>
      <dgm:spPr/>
      <dgm:t>
        <a:bodyPr/>
        <a:lstStyle/>
        <a:p>
          <a:endParaRPr lang="en-US"/>
        </a:p>
      </dgm:t>
    </dgm:pt>
    <dgm:pt modelId="{9675CA75-A4DC-48A2-B7EE-5B3DABCE4E29}">
      <dgm:prSet custT="1"/>
      <dgm:spPr/>
      <dgm:t>
        <a:bodyPr/>
        <a:lstStyle/>
        <a:p>
          <a:r>
            <a:rPr lang="en-US" sz="2400" baseline="0"/>
            <a:t>Distributed Applications</a:t>
          </a:r>
          <a:endParaRPr lang="en-US" sz="2400"/>
        </a:p>
      </dgm:t>
    </dgm:pt>
    <dgm:pt modelId="{EDAFD008-199E-443A-A3F2-4E6B541ED116}" type="parTrans" cxnId="{1026F88F-986B-4321-862F-7E487355E640}">
      <dgm:prSet/>
      <dgm:spPr/>
      <dgm:t>
        <a:bodyPr/>
        <a:lstStyle/>
        <a:p>
          <a:endParaRPr lang="en-US"/>
        </a:p>
      </dgm:t>
    </dgm:pt>
    <dgm:pt modelId="{D9BAECB9-D837-4C1C-9BB6-19D0FDCF8D7E}" type="sibTrans" cxnId="{1026F88F-986B-4321-862F-7E487355E640}">
      <dgm:prSet/>
      <dgm:spPr/>
      <dgm:t>
        <a:bodyPr/>
        <a:lstStyle/>
        <a:p>
          <a:endParaRPr lang="en-US"/>
        </a:p>
      </dgm:t>
    </dgm:pt>
    <dgm:pt modelId="{1EB7CA93-9DAE-4841-BC7B-C257253C4B46}">
      <dgm:prSet custT="1"/>
      <dgm:spPr/>
      <dgm:t>
        <a:bodyPr/>
        <a:lstStyle/>
        <a:p>
          <a:r>
            <a:rPr lang="en-US" sz="2400" baseline="0" dirty="0"/>
            <a:t>Globally Distributed Applications</a:t>
          </a:r>
          <a:endParaRPr lang="en-US" sz="2400" dirty="0"/>
        </a:p>
      </dgm:t>
    </dgm:pt>
    <dgm:pt modelId="{336EEE11-B0C0-4973-A213-77A0289EE89D}" type="parTrans" cxnId="{5D151DB0-4D12-4965-AFF1-6583ADB54412}">
      <dgm:prSet/>
      <dgm:spPr/>
      <dgm:t>
        <a:bodyPr/>
        <a:lstStyle/>
        <a:p>
          <a:endParaRPr lang="en-US"/>
        </a:p>
      </dgm:t>
    </dgm:pt>
    <dgm:pt modelId="{CFF45E7E-606F-41FF-BD32-F8FB6ABE1B52}" type="sibTrans" cxnId="{5D151DB0-4D12-4965-AFF1-6583ADB54412}">
      <dgm:prSet/>
      <dgm:spPr/>
      <dgm:t>
        <a:bodyPr/>
        <a:lstStyle/>
        <a:p>
          <a:endParaRPr lang="en-US"/>
        </a:p>
      </dgm:t>
    </dgm:pt>
    <dgm:pt modelId="{95B78872-DFE8-4F10-9F04-C97E7E6C9A4A}" type="pres">
      <dgm:prSet presAssocID="{AE91018E-CC09-4568-8713-A5BF482BF321}" presName="linear" presStyleCnt="0">
        <dgm:presLayoutVars>
          <dgm:dir/>
          <dgm:animLvl val="lvl"/>
          <dgm:resizeHandles val="exact"/>
        </dgm:presLayoutVars>
      </dgm:prSet>
      <dgm:spPr/>
    </dgm:pt>
    <dgm:pt modelId="{69747EFF-3905-42E2-992D-935DCB905D96}" type="pres">
      <dgm:prSet presAssocID="{63E28DA3-1D9D-40C7-B036-94581E6B867C}" presName="parentLin" presStyleCnt="0"/>
      <dgm:spPr/>
    </dgm:pt>
    <dgm:pt modelId="{7EB87050-6C4A-428B-8CD0-B66E1E991EDB}" type="pres">
      <dgm:prSet presAssocID="{63E28DA3-1D9D-40C7-B036-94581E6B867C}" presName="parentLeftMargin" presStyleLbl="node1" presStyleIdx="0" presStyleCnt="3"/>
      <dgm:spPr/>
    </dgm:pt>
    <dgm:pt modelId="{8421D680-6214-4AD7-925C-C7270298FD07}" type="pres">
      <dgm:prSet presAssocID="{63E28DA3-1D9D-40C7-B036-94581E6B867C}" presName="parentText" presStyleLbl="node1" presStyleIdx="0" presStyleCnt="3">
        <dgm:presLayoutVars>
          <dgm:chMax val="0"/>
          <dgm:bulletEnabled val="1"/>
        </dgm:presLayoutVars>
      </dgm:prSet>
      <dgm:spPr/>
    </dgm:pt>
    <dgm:pt modelId="{93BE7A67-12DE-4A57-B306-DFC1DFBF452D}" type="pres">
      <dgm:prSet presAssocID="{63E28DA3-1D9D-40C7-B036-94581E6B867C}" presName="negativeSpace" presStyleCnt="0"/>
      <dgm:spPr/>
    </dgm:pt>
    <dgm:pt modelId="{DF390113-BE25-4349-BF38-3689C6DD2EEE}" type="pres">
      <dgm:prSet presAssocID="{63E28DA3-1D9D-40C7-B036-94581E6B867C}" presName="childText" presStyleLbl="conFgAcc1" presStyleIdx="0" presStyleCnt="3">
        <dgm:presLayoutVars>
          <dgm:bulletEnabled val="1"/>
        </dgm:presLayoutVars>
      </dgm:prSet>
      <dgm:spPr/>
    </dgm:pt>
    <dgm:pt modelId="{B1ECE9AD-8D62-4471-BDBB-7844CD61C48D}" type="pres">
      <dgm:prSet presAssocID="{C0E19779-80A3-4FC9-A988-30470E886047}" presName="spaceBetweenRectangles" presStyleCnt="0"/>
      <dgm:spPr/>
    </dgm:pt>
    <dgm:pt modelId="{2EF11080-47B1-4159-8A1B-372B5C25D558}" type="pres">
      <dgm:prSet presAssocID="{9675CA75-A4DC-48A2-B7EE-5B3DABCE4E29}" presName="parentLin" presStyleCnt="0"/>
      <dgm:spPr/>
    </dgm:pt>
    <dgm:pt modelId="{60B1CD51-9FB6-40E6-99E6-A598A97113AB}" type="pres">
      <dgm:prSet presAssocID="{9675CA75-A4DC-48A2-B7EE-5B3DABCE4E29}" presName="parentLeftMargin" presStyleLbl="node1" presStyleIdx="0" presStyleCnt="3"/>
      <dgm:spPr/>
    </dgm:pt>
    <dgm:pt modelId="{2CC985EF-7B24-45C1-AA38-7F956649A7D0}" type="pres">
      <dgm:prSet presAssocID="{9675CA75-A4DC-48A2-B7EE-5B3DABCE4E29}" presName="parentText" presStyleLbl="node1" presStyleIdx="1" presStyleCnt="3">
        <dgm:presLayoutVars>
          <dgm:chMax val="0"/>
          <dgm:bulletEnabled val="1"/>
        </dgm:presLayoutVars>
      </dgm:prSet>
      <dgm:spPr/>
    </dgm:pt>
    <dgm:pt modelId="{DFCF1845-57DA-4011-B4FA-1CAD286E1B70}" type="pres">
      <dgm:prSet presAssocID="{9675CA75-A4DC-48A2-B7EE-5B3DABCE4E29}" presName="negativeSpace" presStyleCnt="0"/>
      <dgm:spPr/>
    </dgm:pt>
    <dgm:pt modelId="{1582B8B0-E3AD-44F9-A993-0348D1369488}" type="pres">
      <dgm:prSet presAssocID="{9675CA75-A4DC-48A2-B7EE-5B3DABCE4E29}" presName="childText" presStyleLbl="conFgAcc1" presStyleIdx="1" presStyleCnt="3">
        <dgm:presLayoutVars>
          <dgm:bulletEnabled val="1"/>
        </dgm:presLayoutVars>
      </dgm:prSet>
      <dgm:spPr/>
    </dgm:pt>
    <dgm:pt modelId="{12CD4659-1C29-4DB2-8182-832EFE623708}" type="pres">
      <dgm:prSet presAssocID="{D9BAECB9-D837-4C1C-9BB6-19D0FDCF8D7E}" presName="spaceBetweenRectangles" presStyleCnt="0"/>
      <dgm:spPr/>
    </dgm:pt>
    <dgm:pt modelId="{5F5D9EFA-3732-40D7-82D7-53FB6AA283A3}" type="pres">
      <dgm:prSet presAssocID="{1EB7CA93-9DAE-4841-BC7B-C257253C4B46}" presName="parentLin" presStyleCnt="0"/>
      <dgm:spPr/>
    </dgm:pt>
    <dgm:pt modelId="{DDD3C295-7A7D-4293-AD2B-FC126957BCBC}" type="pres">
      <dgm:prSet presAssocID="{1EB7CA93-9DAE-4841-BC7B-C257253C4B46}" presName="parentLeftMargin" presStyleLbl="node1" presStyleIdx="1" presStyleCnt="3"/>
      <dgm:spPr/>
    </dgm:pt>
    <dgm:pt modelId="{B02BCC9C-1B2A-4FD3-BC42-CBB25E499C90}" type="pres">
      <dgm:prSet presAssocID="{1EB7CA93-9DAE-4841-BC7B-C257253C4B46}" presName="parentText" presStyleLbl="node1" presStyleIdx="2" presStyleCnt="3">
        <dgm:presLayoutVars>
          <dgm:chMax val="0"/>
          <dgm:bulletEnabled val="1"/>
        </dgm:presLayoutVars>
      </dgm:prSet>
      <dgm:spPr/>
    </dgm:pt>
    <dgm:pt modelId="{061A3787-7D78-4114-8C3D-F230583DB96A}" type="pres">
      <dgm:prSet presAssocID="{1EB7CA93-9DAE-4841-BC7B-C257253C4B46}" presName="negativeSpace" presStyleCnt="0"/>
      <dgm:spPr/>
    </dgm:pt>
    <dgm:pt modelId="{24A9C8E0-C6A7-47E7-BAF1-313B19FCA475}" type="pres">
      <dgm:prSet presAssocID="{1EB7CA93-9DAE-4841-BC7B-C257253C4B46}" presName="childText" presStyleLbl="conFgAcc1" presStyleIdx="2" presStyleCnt="3">
        <dgm:presLayoutVars>
          <dgm:bulletEnabled val="1"/>
        </dgm:presLayoutVars>
      </dgm:prSet>
      <dgm:spPr/>
    </dgm:pt>
  </dgm:ptLst>
  <dgm:cxnLst>
    <dgm:cxn modelId="{9356F70E-3B94-408B-990E-9D16FA52CEE9}" type="presOf" srcId="{63E28DA3-1D9D-40C7-B036-94581E6B867C}" destId="{7EB87050-6C4A-428B-8CD0-B66E1E991EDB}" srcOrd="0" destOrd="0" presId="urn:microsoft.com/office/officeart/2005/8/layout/list1"/>
    <dgm:cxn modelId="{7AB9F22A-79DC-4EFD-9808-2397B39449C1}" type="presOf" srcId="{1EB7CA93-9DAE-4841-BC7B-C257253C4B46}" destId="{DDD3C295-7A7D-4293-AD2B-FC126957BCBC}" srcOrd="0" destOrd="0" presId="urn:microsoft.com/office/officeart/2005/8/layout/list1"/>
    <dgm:cxn modelId="{CF8C8C39-C7B4-4B94-8E78-0C0B3C787C73}" type="presOf" srcId="{9675CA75-A4DC-48A2-B7EE-5B3DABCE4E29}" destId="{60B1CD51-9FB6-40E6-99E6-A598A97113AB}" srcOrd="0" destOrd="0" presId="urn:microsoft.com/office/officeart/2005/8/layout/list1"/>
    <dgm:cxn modelId="{1026F88F-986B-4321-862F-7E487355E640}" srcId="{AE91018E-CC09-4568-8713-A5BF482BF321}" destId="{9675CA75-A4DC-48A2-B7EE-5B3DABCE4E29}" srcOrd="1" destOrd="0" parTransId="{EDAFD008-199E-443A-A3F2-4E6B541ED116}" sibTransId="{D9BAECB9-D837-4C1C-9BB6-19D0FDCF8D7E}"/>
    <dgm:cxn modelId="{1502B199-5133-4C63-B3D3-A827AADA1EA5}" srcId="{AE91018E-CC09-4568-8713-A5BF482BF321}" destId="{63E28DA3-1D9D-40C7-B036-94581E6B867C}" srcOrd="0" destOrd="0" parTransId="{CAF48491-C90B-40EF-871E-33F8E6025C24}" sibTransId="{C0E19779-80A3-4FC9-A988-30470E886047}"/>
    <dgm:cxn modelId="{C79031A3-1074-462C-8C73-1AF3F90B09F0}" type="presOf" srcId="{9675CA75-A4DC-48A2-B7EE-5B3DABCE4E29}" destId="{2CC985EF-7B24-45C1-AA38-7F956649A7D0}" srcOrd="1" destOrd="0" presId="urn:microsoft.com/office/officeart/2005/8/layout/list1"/>
    <dgm:cxn modelId="{7C7D89A7-1C5A-4E37-8126-1C441D03BFBB}" type="presOf" srcId="{AE91018E-CC09-4568-8713-A5BF482BF321}" destId="{95B78872-DFE8-4F10-9F04-C97E7E6C9A4A}" srcOrd="0" destOrd="0" presId="urn:microsoft.com/office/officeart/2005/8/layout/list1"/>
    <dgm:cxn modelId="{408D54AD-0D08-45E0-976F-8A62E2AD9E7F}" type="presOf" srcId="{1EB7CA93-9DAE-4841-BC7B-C257253C4B46}" destId="{B02BCC9C-1B2A-4FD3-BC42-CBB25E499C90}" srcOrd="1" destOrd="0" presId="urn:microsoft.com/office/officeart/2005/8/layout/list1"/>
    <dgm:cxn modelId="{5D151DB0-4D12-4965-AFF1-6583ADB54412}" srcId="{AE91018E-CC09-4568-8713-A5BF482BF321}" destId="{1EB7CA93-9DAE-4841-BC7B-C257253C4B46}" srcOrd="2" destOrd="0" parTransId="{336EEE11-B0C0-4973-A213-77A0289EE89D}" sibTransId="{CFF45E7E-606F-41FF-BD32-F8FB6ABE1B52}"/>
    <dgm:cxn modelId="{7F9ADBB8-C1A9-4A49-8B2E-E73CCE608EC1}" type="presOf" srcId="{63E28DA3-1D9D-40C7-B036-94581E6B867C}" destId="{8421D680-6214-4AD7-925C-C7270298FD07}" srcOrd="1" destOrd="0" presId="urn:microsoft.com/office/officeart/2005/8/layout/list1"/>
    <dgm:cxn modelId="{4A315E80-F7FD-45BB-B9B1-4C6D022B4884}" type="presParOf" srcId="{95B78872-DFE8-4F10-9F04-C97E7E6C9A4A}" destId="{69747EFF-3905-42E2-992D-935DCB905D96}" srcOrd="0" destOrd="0" presId="urn:microsoft.com/office/officeart/2005/8/layout/list1"/>
    <dgm:cxn modelId="{DC7EF4D3-D1A8-488F-AE05-D76961732A70}" type="presParOf" srcId="{69747EFF-3905-42E2-992D-935DCB905D96}" destId="{7EB87050-6C4A-428B-8CD0-B66E1E991EDB}" srcOrd="0" destOrd="0" presId="urn:microsoft.com/office/officeart/2005/8/layout/list1"/>
    <dgm:cxn modelId="{519A451F-C196-4C01-B6B2-4260141AD913}" type="presParOf" srcId="{69747EFF-3905-42E2-992D-935DCB905D96}" destId="{8421D680-6214-4AD7-925C-C7270298FD07}" srcOrd="1" destOrd="0" presId="urn:microsoft.com/office/officeart/2005/8/layout/list1"/>
    <dgm:cxn modelId="{B2D503D8-879D-4187-8F1D-056206F2B255}" type="presParOf" srcId="{95B78872-DFE8-4F10-9F04-C97E7E6C9A4A}" destId="{93BE7A67-12DE-4A57-B306-DFC1DFBF452D}" srcOrd="1" destOrd="0" presId="urn:microsoft.com/office/officeart/2005/8/layout/list1"/>
    <dgm:cxn modelId="{4634A8E8-C725-4085-8BBE-42DF6405C100}" type="presParOf" srcId="{95B78872-DFE8-4F10-9F04-C97E7E6C9A4A}" destId="{DF390113-BE25-4349-BF38-3689C6DD2EEE}" srcOrd="2" destOrd="0" presId="urn:microsoft.com/office/officeart/2005/8/layout/list1"/>
    <dgm:cxn modelId="{EF470502-1958-4B85-BF16-8D3E77D12181}" type="presParOf" srcId="{95B78872-DFE8-4F10-9F04-C97E7E6C9A4A}" destId="{B1ECE9AD-8D62-4471-BDBB-7844CD61C48D}" srcOrd="3" destOrd="0" presId="urn:microsoft.com/office/officeart/2005/8/layout/list1"/>
    <dgm:cxn modelId="{9E32A479-D2BD-48E3-9100-F8A9A7B2A353}" type="presParOf" srcId="{95B78872-DFE8-4F10-9F04-C97E7E6C9A4A}" destId="{2EF11080-47B1-4159-8A1B-372B5C25D558}" srcOrd="4" destOrd="0" presId="urn:microsoft.com/office/officeart/2005/8/layout/list1"/>
    <dgm:cxn modelId="{25060E9F-77DE-4D62-8271-1F92FDCF2BBD}" type="presParOf" srcId="{2EF11080-47B1-4159-8A1B-372B5C25D558}" destId="{60B1CD51-9FB6-40E6-99E6-A598A97113AB}" srcOrd="0" destOrd="0" presId="urn:microsoft.com/office/officeart/2005/8/layout/list1"/>
    <dgm:cxn modelId="{BF972AFE-3534-4CE2-8A80-3A1F07FB1285}" type="presParOf" srcId="{2EF11080-47B1-4159-8A1B-372B5C25D558}" destId="{2CC985EF-7B24-45C1-AA38-7F956649A7D0}" srcOrd="1" destOrd="0" presId="urn:microsoft.com/office/officeart/2005/8/layout/list1"/>
    <dgm:cxn modelId="{B59B5BE4-AF3B-45F2-AF11-C18423305031}" type="presParOf" srcId="{95B78872-DFE8-4F10-9F04-C97E7E6C9A4A}" destId="{DFCF1845-57DA-4011-B4FA-1CAD286E1B70}" srcOrd="5" destOrd="0" presId="urn:microsoft.com/office/officeart/2005/8/layout/list1"/>
    <dgm:cxn modelId="{AFAFCFF4-7DCA-47BC-8C92-18CFC097A045}" type="presParOf" srcId="{95B78872-DFE8-4F10-9F04-C97E7E6C9A4A}" destId="{1582B8B0-E3AD-44F9-A993-0348D1369488}" srcOrd="6" destOrd="0" presId="urn:microsoft.com/office/officeart/2005/8/layout/list1"/>
    <dgm:cxn modelId="{175D4E3E-2ADB-4579-88B1-06E2CE098D0A}" type="presParOf" srcId="{95B78872-DFE8-4F10-9F04-C97E7E6C9A4A}" destId="{12CD4659-1C29-4DB2-8182-832EFE623708}" srcOrd="7" destOrd="0" presId="urn:microsoft.com/office/officeart/2005/8/layout/list1"/>
    <dgm:cxn modelId="{78D16855-10F0-4ACC-9027-607453A474C2}" type="presParOf" srcId="{95B78872-DFE8-4F10-9F04-C97E7E6C9A4A}" destId="{5F5D9EFA-3732-40D7-82D7-53FB6AA283A3}" srcOrd="8" destOrd="0" presId="urn:microsoft.com/office/officeart/2005/8/layout/list1"/>
    <dgm:cxn modelId="{D6172A0B-B4C4-49C6-A25D-9AF2794D975A}" type="presParOf" srcId="{5F5D9EFA-3732-40D7-82D7-53FB6AA283A3}" destId="{DDD3C295-7A7D-4293-AD2B-FC126957BCBC}" srcOrd="0" destOrd="0" presId="urn:microsoft.com/office/officeart/2005/8/layout/list1"/>
    <dgm:cxn modelId="{1A6B5BD9-96A3-4988-AE95-284C63905F39}" type="presParOf" srcId="{5F5D9EFA-3732-40D7-82D7-53FB6AA283A3}" destId="{B02BCC9C-1B2A-4FD3-BC42-CBB25E499C90}" srcOrd="1" destOrd="0" presId="urn:microsoft.com/office/officeart/2005/8/layout/list1"/>
    <dgm:cxn modelId="{CB5677F4-6B42-4DD9-A4A4-0D2B263680FC}" type="presParOf" srcId="{95B78872-DFE8-4F10-9F04-C97E7E6C9A4A}" destId="{061A3787-7D78-4114-8C3D-F230583DB96A}" srcOrd="9" destOrd="0" presId="urn:microsoft.com/office/officeart/2005/8/layout/list1"/>
    <dgm:cxn modelId="{E8494150-09CD-4525-BFFB-F05F586A47C9}" type="presParOf" srcId="{95B78872-DFE8-4F10-9F04-C97E7E6C9A4A}" destId="{24A9C8E0-C6A7-47E7-BAF1-313B19FCA475}"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15643B4-4431-492E-AF66-6D6C60FC09F0}"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nl-BE"/>
        </a:p>
      </dgm:t>
    </dgm:pt>
    <dgm:pt modelId="{66AD1639-C666-4C05-927F-565DF0191134}">
      <dgm:prSet custT="1"/>
      <dgm:spPr>
        <a:xfrm>
          <a:off x="593779" y="802"/>
          <a:ext cx="8312913" cy="928875"/>
        </a:xfrm>
        <a:prstGeom prst="rect">
          <a:avLst/>
        </a:prstGeom>
      </dgm:spPr>
      <dgm:t>
        <a:bodyPr/>
        <a:lstStyle/>
        <a:p>
          <a:pPr>
            <a:buNone/>
          </a:pPr>
          <a:r>
            <a:rPr lang="en-US" sz="2400" baseline="0" dirty="0">
              <a:latin typeface="Segoe UI"/>
              <a:ea typeface="+mn-ea"/>
              <a:cs typeface="+mn-cs"/>
            </a:rPr>
            <a:t>Setup</a:t>
          </a:r>
          <a:endParaRPr lang="nl-BE" sz="2400" dirty="0">
            <a:latin typeface="Segoe UI"/>
            <a:ea typeface="+mn-ea"/>
            <a:cs typeface="+mn-cs"/>
          </a:endParaRPr>
        </a:p>
      </dgm:t>
    </dgm:pt>
    <dgm:pt modelId="{CE964F79-0FE7-4C88-8DD1-2E57548E8F66}" type="parTrans" cxnId="{D96981A8-2C00-4648-853C-12A9A2EC0C4C}">
      <dgm:prSet/>
      <dgm:spPr/>
      <dgm:t>
        <a:bodyPr/>
        <a:lstStyle/>
        <a:p>
          <a:endParaRPr lang="nl-BE"/>
        </a:p>
      </dgm:t>
    </dgm:pt>
    <dgm:pt modelId="{B7AFFF24-EE5C-479D-A233-82280D35DFD2}" type="sibTrans" cxnId="{D96981A8-2C00-4648-853C-12A9A2EC0C4C}">
      <dgm:prSet/>
      <dgm:spPr/>
      <dgm:t>
        <a:bodyPr/>
        <a:lstStyle/>
        <a:p>
          <a:endParaRPr lang="nl-BE"/>
        </a:p>
      </dgm:t>
    </dgm:pt>
    <dgm:pt modelId="{CB10A5DE-F88B-4315-AF12-4D682E598955}">
      <dgm:prSet custT="1"/>
      <dgm:spPr>
        <a:xfrm>
          <a:off x="0" y="705649"/>
          <a:ext cx="11887200" cy="3099749"/>
        </a:xfrm>
        <a:prstGeom prst="rect">
          <a:avLst/>
        </a:prstGeom>
      </dgm:spPr>
      <dgm:t>
        <a:bodyPr/>
        <a:lstStyle/>
        <a:p>
          <a:pPr>
            <a:buChar char="•"/>
          </a:pPr>
          <a:r>
            <a:rPr lang="en-US" sz="2000" baseline="0" dirty="0">
              <a:latin typeface="Segoe UI"/>
              <a:ea typeface="+mn-ea"/>
              <a:cs typeface="+mn-cs"/>
            </a:rPr>
            <a:t>You don't have to include all the tables that are in a database in a sync group.</a:t>
          </a:r>
          <a:endParaRPr lang="nl-BE" sz="2000" dirty="0">
            <a:latin typeface="Segoe UI"/>
            <a:ea typeface="+mn-ea"/>
            <a:cs typeface="+mn-cs"/>
          </a:endParaRPr>
        </a:p>
      </dgm:t>
    </dgm:pt>
    <dgm:pt modelId="{25482BAF-BDDB-4F7D-8891-3612D3EBBA01}" type="parTrans" cxnId="{0A30DF97-E2A4-470B-8409-9C3A3D01AE56}">
      <dgm:prSet/>
      <dgm:spPr/>
      <dgm:t>
        <a:bodyPr/>
        <a:lstStyle/>
        <a:p>
          <a:endParaRPr lang="nl-BE"/>
        </a:p>
      </dgm:t>
    </dgm:pt>
    <dgm:pt modelId="{B28CCF68-DD54-47C0-ABC9-3FA7925CABB9}" type="sibTrans" cxnId="{0A30DF97-E2A4-470B-8409-9C3A3D01AE56}">
      <dgm:prSet/>
      <dgm:spPr/>
      <dgm:t>
        <a:bodyPr/>
        <a:lstStyle/>
        <a:p>
          <a:endParaRPr lang="nl-BE"/>
        </a:p>
      </dgm:t>
    </dgm:pt>
    <dgm:pt modelId="{1147E0DF-E05C-4829-B0B8-51ABB22A48AA}">
      <dgm:prSet custT="1"/>
      <dgm:spPr>
        <a:xfrm>
          <a:off x="0" y="705649"/>
          <a:ext cx="11887200" cy="3099749"/>
        </a:xfrm>
        <a:prstGeom prst="rect">
          <a:avLst/>
        </a:prstGeom>
      </dgm:spPr>
      <dgm:t>
        <a:bodyPr/>
        <a:lstStyle/>
        <a:p>
          <a:pPr>
            <a:buChar char="•"/>
          </a:pPr>
          <a:r>
            <a:rPr lang="en-US" sz="2000" baseline="0" dirty="0">
              <a:latin typeface="Segoe UI"/>
              <a:ea typeface="+mn-ea"/>
              <a:cs typeface="+mn-cs"/>
            </a:rPr>
            <a:t>Each table in a sync group </a:t>
          </a:r>
          <a:r>
            <a:rPr lang="en-US" sz="2000" b="1" baseline="0" dirty="0">
              <a:latin typeface="Segoe UI"/>
              <a:ea typeface="+mn-ea"/>
              <a:cs typeface="+mn-cs"/>
            </a:rPr>
            <a:t>must have a primary key.</a:t>
          </a:r>
          <a:endParaRPr lang="nl-BE" sz="2000" b="1" dirty="0">
            <a:latin typeface="Segoe UI"/>
            <a:ea typeface="+mn-ea"/>
            <a:cs typeface="+mn-cs"/>
          </a:endParaRPr>
        </a:p>
      </dgm:t>
    </dgm:pt>
    <dgm:pt modelId="{6186D78A-4C5D-4540-8E92-FCA8245EBFE8}" type="parTrans" cxnId="{1287AEA6-DFDD-4856-9B13-D040299DF606}">
      <dgm:prSet/>
      <dgm:spPr/>
      <dgm:t>
        <a:bodyPr/>
        <a:lstStyle/>
        <a:p>
          <a:endParaRPr lang="nl-BE"/>
        </a:p>
      </dgm:t>
    </dgm:pt>
    <dgm:pt modelId="{F0626BAB-9F42-4EEC-9BC5-18441441F69C}" type="sibTrans" cxnId="{1287AEA6-DFDD-4856-9B13-D040299DF606}">
      <dgm:prSet/>
      <dgm:spPr/>
      <dgm:t>
        <a:bodyPr/>
        <a:lstStyle/>
        <a:p>
          <a:endParaRPr lang="nl-BE"/>
        </a:p>
      </dgm:t>
    </dgm:pt>
    <dgm:pt modelId="{5E4C8D33-0C84-4265-A6E0-794C370DFA7A}">
      <dgm:prSet custT="1"/>
      <dgm:spPr>
        <a:xfrm>
          <a:off x="0" y="705649"/>
          <a:ext cx="11887200" cy="3099749"/>
        </a:xfrm>
        <a:prstGeom prst="rect">
          <a:avLst/>
        </a:prstGeom>
      </dgm:spPr>
      <dgm:t>
        <a:bodyPr/>
        <a:lstStyle/>
        <a:p>
          <a:pPr>
            <a:buChar char="•"/>
          </a:pPr>
          <a:r>
            <a:rPr lang="en-US" sz="2000" baseline="0" dirty="0">
              <a:latin typeface="Segoe UI"/>
              <a:ea typeface="+mn-ea"/>
              <a:cs typeface="+mn-cs"/>
            </a:rPr>
            <a:t>Keep the hub database close to the greatest concentration of the sync group's database traffic.</a:t>
          </a:r>
          <a:endParaRPr lang="nl-BE" sz="2000" dirty="0">
            <a:latin typeface="Segoe UI"/>
            <a:ea typeface="+mn-ea"/>
            <a:cs typeface="+mn-cs"/>
          </a:endParaRPr>
        </a:p>
      </dgm:t>
    </dgm:pt>
    <dgm:pt modelId="{66E5345C-69FB-482F-9157-1C4CBBE9CBF8}" type="parTrans" cxnId="{3880EBD4-E8DB-4E14-B202-3C2CDB29AF74}">
      <dgm:prSet/>
      <dgm:spPr/>
      <dgm:t>
        <a:bodyPr/>
        <a:lstStyle/>
        <a:p>
          <a:endParaRPr lang="nl-BE"/>
        </a:p>
      </dgm:t>
    </dgm:pt>
    <dgm:pt modelId="{8892BE8E-C5D7-41AE-87C4-41CF213B9212}" type="sibTrans" cxnId="{3880EBD4-E8DB-4E14-B202-3C2CDB29AF74}">
      <dgm:prSet/>
      <dgm:spPr/>
      <dgm:t>
        <a:bodyPr/>
        <a:lstStyle/>
        <a:p>
          <a:endParaRPr lang="nl-BE"/>
        </a:p>
      </dgm:t>
    </dgm:pt>
    <dgm:pt modelId="{50ED0159-6932-4770-A635-3CB6AD0E7070}">
      <dgm:prSet custT="1"/>
      <dgm:spPr>
        <a:xfrm>
          <a:off x="0" y="705649"/>
          <a:ext cx="11887200" cy="3099749"/>
        </a:xfrm>
        <a:prstGeom prst="rect">
          <a:avLst/>
        </a:prstGeom>
      </dgm:spPr>
      <dgm:t>
        <a:bodyPr/>
        <a:lstStyle/>
        <a:p>
          <a:pPr>
            <a:buChar char="•"/>
          </a:pPr>
          <a:r>
            <a:rPr lang="en-US" sz="2000" b="0" i="0" u="none" dirty="0">
              <a:latin typeface="Segoe UI"/>
              <a:ea typeface="+mn-ea"/>
              <a:cs typeface="+mn-cs"/>
            </a:rPr>
            <a:t>Empty tables provide the best performance at initialization time.</a:t>
          </a:r>
          <a:endParaRPr lang="nl-BE" sz="2000" dirty="0">
            <a:latin typeface="Segoe UI"/>
            <a:ea typeface="+mn-ea"/>
            <a:cs typeface="+mn-cs"/>
          </a:endParaRPr>
        </a:p>
      </dgm:t>
    </dgm:pt>
    <dgm:pt modelId="{56C29D29-2E30-49B5-90DB-BE1F2B2284F1}" type="parTrans" cxnId="{7421E761-68E4-4857-8E8F-985CBE638C2F}">
      <dgm:prSet/>
      <dgm:spPr/>
      <dgm:t>
        <a:bodyPr/>
        <a:lstStyle/>
        <a:p>
          <a:endParaRPr lang="es-ES"/>
        </a:p>
      </dgm:t>
    </dgm:pt>
    <dgm:pt modelId="{BBC524F7-E6FE-47A3-AC3C-98E71855A419}" type="sibTrans" cxnId="{7421E761-68E4-4857-8E8F-985CBE638C2F}">
      <dgm:prSet/>
      <dgm:spPr/>
      <dgm:t>
        <a:bodyPr/>
        <a:lstStyle/>
        <a:p>
          <a:endParaRPr lang="es-ES"/>
        </a:p>
      </dgm:t>
    </dgm:pt>
    <dgm:pt modelId="{A7C7D58A-CA70-49EB-A15E-8510F7629A06}">
      <dgm:prSet custT="1"/>
      <dgm:spPr>
        <a:xfrm>
          <a:off x="0" y="705649"/>
          <a:ext cx="11887200" cy="3099749"/>
        </a:xfrm>
        <a:prstGeom prst="rect">
          <a:avLst/>
        </a:prstGeom>
      </dgm:spPr>
      <dgm:t>
        <a:bodyPr/>
        <a:lstStyle/>
        <a:p>
          <a:pPr>
            <a:buChar char="•"/>
          </a:pPr>
          <a:r>
            <a:rPr lang="en-US" sz="2000" b="0" i="0" u="none" dirty="0">
              <a:latin typeface="Segoe UI"/>
              <a:ea typeface="+mn-ea"/>
              <a:cs typeface="+mn-cs"/>
            </a:rPr>
            <a:t>Snapshot isolation </a:t>
          </a:r>
          <a:r>
            <a:rPr lang="en-US" sz="2000" b="1" i="0" u="none" dirty="0">
              <a:latin typeface="Segoe UI"/>
              <a:ea typeface="+mn-ea"/>
              <a:cs typeface="+mn-cs"/>
            </a:rPr>
            <a:t>must</a:t>
          </a:r>
          <a:r>
            <a:rPr lang="en-US" sz="2000" b="0" i="0" u="none" dirty="0">
              <a:latin typeface="Segoe UI"/>
              <a:ea typeface="+mn-ea"/>
              <a:cs typeface="+mn-cs"/>
            </a:rPr>
            <a:t> be enabled.</a:t>
          </a:r>
          <a:endParaRPr lang="nl-BE" sz="2000" dirty="0">
            <a:latin typeface="Segoe UI"/>
            <a:ea typeface="+mn-ea"/>
            <a:cs typeface="+mn-cs"/>
          </a:endParaRPr>
        </a:p>
      </dgm:t>
    </dgm:pt>
    <dgm:pt modelId="{FD933D3D-BC0E-47E3-9878-8A59BDDDB729}" type="parTrans" cxnId="{D5CCDEF8-9AED-41BF-A414-131591951FE3}">
      <dgm:prSet/>
      <dgm:spPr/>
      <dgm:t>
        <a:bodyPr/>
        <a:lstStyle/>
        <a:p>
          <a:endParaRPr lang="es-ES"/>
        </a:p>
      </dgm:t>
    </dgm:pt>
    <dgm:pt modelId="{C5AEBB4F-6026-4B68-BC8A-195DF6B7B6FF}" type="sibTrans" cxnId="{D5CCDEF8-9AED-41BF-A414-131591951FE3}">
      <dgm:prSet/>
      <dgm:spPr/>
      <dgm:t>
        <a:bodyPr/>
        <a:lstStyle/>
        <a:p>
          <a:endParaRPr lang="es-ES"/>
        </a:p>
      </dgm:t>
    </dgm:pt>
    <dgm:pt modelId="{878587A1-1382-4333-ABF6-0769698404CC}">
      <dgm:prSet custT="1"/>
      <dgm:spPr>
        <a:xfrm>
          <a:off x="0" y="705649"/>
          <a:ext cx="11887200" cy="3099749"/>
        </a:xfrm>
        <a:prstGeom prst="rect">
          <a:avLst/>
        </a:prstGeom>
      </dgm:spPr>
      <dgm:t>
        <a:bodyPr/>
        <a:lstStyle/>
        <a:p>
          <a:pPr>
            <a:buChar char="•"/>
          </a:pPr>
          <a:r>
            <a:rPr lang="en-US" sz="2000" baseline="0" dirty="0">
              <a:latin typeface="Segoe UI"/>
              <a:ea typeface="+mn-ea"/>
              <a:cs typeface="+mn-cs"/>
            </a:rPr>
            <a:t>Set the maximum size so that it's always larger than the database you deploy.</a:t>
          </a:r>
          <a:endParaRPr lang="nl-BE" sz="2000" dirty="0">
            <a:latin typeface="Segoe UI"/>
            <a:ea typeface="+mn-ea"/>
            <a:cs typeface="+mn-cs"/>
          </a:endParaRPr>
        </a:p>
      </dgm:t>
    </dgm:pt>
    <dgm:pt modelId="{5F5BE10B-FF36-4424-A245-3575B600758B}" type="parTrans" cxnId="{640517B4-9E73-49AA-9C1A-4FDCA9B01625}">
      <dgm:prSet/>
      <dgm:spPr/>
      <dgm:t>
        <a:bodyPr/>
        <a:lstStyle/>
        <a:p>
          <a:endParaRPr lang="es-ES"/>
        </a:p>
      </dgm:t>
    </dgm:pt>
    <dgm:pt modelId="{62BCC483-8246-469B-B112-4C040C4E09F7}" type="sibTrans" cxnId="{640517B4-9E73-49AA-9C1A-4FDCA9B01625}">
      <dgm:prSet/>
      <dgm:spPr/>
      <dgm:t>
        <a:bodyPr/>
        <a:lstStyle/>
        <a:p>
          <a:endParaRPr lang="es-ES"/>
        </a:p>
      </dgm:t>
    </dgm:pt>
    <dgm:pt modelId="{C1CE609E-04AD-4B9A-8CA3-98452D768FE5}" type="pres">
      <dgm:prSet presAssocID="{515643B4-4431-492E-AF66-6D6C60FC09F0}" presName="linear" presStyleCnt="0">
        <dgm:presLayoutVars>
          <dgm:dir/>
          <dgm:animLvl val="lvl"/>
          <dgm:resizeHandles val="exact"/>
        </dgm:presLayoutVars>
      </dgm:prSet>
      <dgm:spPr/>
    </dgm:pt>
    <dgm:pt modelId="{3435A5B8-A970-4F58-8511-72F16C463D20}" type="pres">
      <dgm:prSet presAssocID="{66AD1639-C666-4C05-927F-565DF0191134}" presName="parentLin" presStyleCnt="0"/>
      <dgm:spPr/>
    </dgm:pt>
    <dgm:pt modelId="{89A4E0A5-FD39-4D13-9B70-2D2622B9C1B9}" type="pres">
      <dgm:prSet presAssocID="{66AD1639-C666-4C05-927F-565DF0191134}" presName="parentLeftMargin" presStyleLbl="node1" presStyleIdx="0" presStyleCnt="1"/>
      <dgm:spPr/>
    </dgm:pt>
    <dgm:pt modelId="{457AA378-B501-46B0-A222-DD214B4B0934}" type="pres">
      <dgm:prSet presAssocID="{66AD1639-C666-4C05-927F-565DF0191134}" presName="parentText" presStyleLbl="node1" presStyleIdx="0" presStyleCnt="1" custScaleY="806537">
        <dgm:presLayoutVars>
          <dgm:chMax val="0"/>
          <dgm:bulletEnabled val="1"/>
        </dgm:presLayoutVars>
      </dgm:prSet>
      <dgm:spPr>
        <a:prstGeom prst="rect">
          <a:avLst/>
        </a:prstGeom>
      </dgm:spPr>
    </dgm:pt>
    <dgm:pt modelId="{05049FE7-7881-4730-BDC6-734F586C26C6}" type="pres">
      <dgm:prSet presAssocID="{66AD1639-C666-4C05-927F-565DF0191134}" presName="negativeSpace" presStyleCnt="0"/>
      <dgm:spPr/>
    </dgm:pt>
    <dgm:pt modelId="{8F0F55DE-C72D-4C5E-B71B-3F5F589870CF}" type="pres">
      <dgm:prSet presAssocID="{66AD1639-C666-4C05-927F-565DF0191134}" presName="childText" presStyleLbl="conFgAcc1" presStyleIdx="0" presStyleCnt="1" custScaleY="194311" custLinFactY="-6824" custLinFactNeighborX="-492" custLinFactNeighborY="-100000">
        <dgm:presLayoutVars>
          <dgm:bulletEnabled val="1"/>
        </dgm:presLayoutVars>
      </dgm:prSet>
      <dgm:spPr/>
    </dgm:pt>
  </dgm:ptLst>
  <dgm:cxnLst>
    <dgm:cxn modelId="{C8F6B909-8CC5-417A-A5E8-4112CC5FF9D3}" type="presOf" srcId="{878587A1-1382-4333-ABF6-0769698404CC}" destId="{8F0F55DE-C72D-4C5E-B71B-3F5F589870CF}" srcOrd="0" destOrd="0" presId="urn:microsoft.com/office/officeart/2005/8/layout/list1"/>
    <dgm:cxn modelId="{804B871F-480A-40B4-B5F0-706A74EC05B8}" type="presOf" srcId="{1147E0DF-E05C-4829-B0B8-51ABB22A48AA}" destId="{8F0F55DE-C72D-4C5E-B71B-3F5F589870CF}" srcOrd="0" destOrd="2" presId="urn:microsoft.com/office/officeart/2005/8/layout/list1"/>
    <dgm:cxn modelId="{5E450020-8C4C-42C3-9CD5-5CFFC8D29E05}" type="presOf" srcId="{50ED0159-6932-4770-A635-3CB6AD0E7070}" destId="{8F0F55DE-C72D-4C5E-B71B-3F5F589870CF}" srcOrd="0" destOrd="4" presId="urn:microsoft.com/office/officeart/2005/8/layout/list1"/>
    <dgm:cxn modelId="{BE23262B-3ED9-48B9-BF2F-86C9F6672C98}" type="presOf" srcId="{5E4C8D33-0C84-4265-A6E0-794C370DFA7A}" destId="{8F0F55DE-C72D-4C5E-B71B-3F5F589870CF}" srcOrd="0" destOrd="5" presId="urn:microsoft.com/office/officeart/2005/8/layout/list1"/>
    <dgm:cxn modelId="{2E13BF41-1B1A-4A08-ACC3-3F1C4BCF7BCC}" type="presOf" srcId="{66AD1639-C666-4C05-927F-565DF0191134}" destId="{457AA378-B501-46B0-A222-DD214B4B0934}" srcOrd="1" destOrd="0" presId="urn:microsoft.com/office/officeart/2005/8/layout/list1"/>
    <dgm:cxn modelId="{7421E761-68E4-4857-8E8F-985CBE638C2F}" srcId="{66AD1639-C666-4C05-927F-565DF0191134}" destId="{50ED0159-6932-4770-A635-3CB6AD0E7070}" srcOrd="4" destOrd="0" parTransId="{56C29D29-2E30-49B5-90DB-BE1F2B2284F1}" sibTransId="{BBC524F7-E6FE-47A3-AC3C-98E71855A419}"/>
    <dgm:cxn modelId="{EBA73F84-A197-4906-8D52-5D0589A1BFFF}" type="presOf" srcId="{66AD1639-C666-4C05-927F-565DF0191134}" destId="{89A4E0A5-FD39-4D13-9B70-2D2622B9C1B9}" srcOrd="0" destOrd="0" presId="urn:microsoft.com/office/officeart/2005/8/layout/list1"/>
    <dgm:cxn modelId="{0A30DF97-E2A4-470B-8409-9C3A3D01AE56}" srcId="{66AD1639-C666-4C05-927F-565DF0191134}" destId="{CB10A5DE-F88B-4315-AF12-4D682E598955}" srcOrd="1" destOrd="0" parTransId="{25482BAF-BDDB-4F7D-8891-3612D3EBBA01}" sibTransId="{B28CCF68-DD54-47C0-ABC9-3FA7925CABB9}"/>
    <dgm:cxn modelId="{1287AEA6-DFDD-4856-9B13-D040299DF606}" srcId="{66AD1639-C666-4C05-927F-565DF0191134}" destId="{1147E0DF-E05C-4829-B0B8-51ABB22A48AA}" srcOrd="2" destOrd="0" parTransId="{6186D78A-4C5D-4540-8E92-FCA8245EBFE8}" sibTransId="{F0626BAB-9F42-4EEC-9BC5-18441441F69C}"/>
    <dgm:cxn modelId="{D96981A8-2C00-4648-853C-12A9A2EC0C4C}" srcId="{515643B4-4431-492E-AF66-6D6C60FC09F0}" destId="{66AD1639-C666-4C05-927F-565DF0191134}" srcOrd="0" destOrd="0" parTransId="{CE964F79-0FE7-4C88-8DD1-2E57548E8F66}" sibTransId="{B7AFFF24-EE5C-479D-A233-82280D35DFD2}"/>
    <dgm:cxn modelId="{D76565AC-1EA3-46DC-88FD-491D8D40177F}" type="presOf" srcId="{A7C7D58A-CA70-49EB-A15E-8510F7629A06}" destId="{8F0F55DE-C72D-4C5E-B71B-3F5F589870CF}" srcOrd="0" destOrd="3" presId="urn:microsoft.com/office/officeart/2005/8/layout/list1"/>
    <dgm:cxn modelId="{640517B4-9E73-49AA-9C1A-4FDCA9B01625}" srcId="{66AD1639-C666-4C05-927F-565DF0191134}" destId="{878587A1-1382-4333-ABF6-0769698404CC}" srcOrd="0" destOrd="0" parTransId="{5F5BE10B-FF36-4424-A245-3575B600758B}" sibTransId="{62BCC483-8246-469B-B112-4C040C4E09F7}"/>
    <dgm:cxn modelId="{3880EBD4-E8DB-4E14-B202-3C2CDB29AF74}" srcId="{66AD1639-C666-4C05-927F-565DF0191134}" destId="{5E4C8D33-0C84-4265-A6E0-794C370DFA7A}" srcOrd="5" destOrd="0" parTransId="{66E5345C-69FB-482F-9157-1C4CBBE9CBF8}" sibTransId="{8892BE8E-C5D7-41AE-87C4-41CF213B9212}"/>
    <dgm:cxn modelId="{40D504E2-5D5F-46B0-B48D-39C2F38ED3D9}" type="presOf" srcId="{515643B4-4431-492E-AF66-6D6C60FC09F0}" destId="{C1CE609E-04AD-4B9A-8CA3-98452D768FE5}" srcOrd="0" destOrd="0" presId="urn:microsoft.com/office/officeart/2005/8/layout/list1"/>
    <dgm:cxn modelId="{E5588BF7-94AF-4ABE-93D4-608535A388EC}" type="presOf" srcId="{CB10A5DE-F88B-4315-AF12-4D682E598955}" destId="{8F0F55DE-C72D-4C5E-B71B-3F5F589870CF}" srcOrd="0" destOrd="1" presId="urn:microsoft.com/office/officeart/2005/8/layout/list1"/>
    <dgm:cxn modelId="{D5CCDEF8-9AED-41BF-A414-131591951FE3}" srcId="{66AD1639-C666-4C05-927F-565DF0191134}" destId="{A7C7D58A-CA70-49EB-A15E-8510F7629A06}" srcOrd="3" destOrd="0" parTransId="{FD933D3D-BC0E-47E3-9878-8A59BDDDB729}" sibTransId="{C5AEBB4F-6026-4B68-BC8A-195DF6B7B6FF}"/>
    <dgm:cxn modelId="{F3614BC8-AD01-430B-86BC-FE79756EAB45}" type="presParOf" srcId="{C1CE609E-04AD-4B9A-8CA3-98452D768FE5}" destId="{3435A5B8-A970-4F58-8511-72F16C463D20}" srcOrd="0" destOrd="0" presId="urn:microsoft.com/office/officeart/2005/8/layout/list1"/>
    <dgm:cxn modelId="{0F56C842-FEC5-44C3-98C5-0E8A113482BD}" type="presParOf" srcId="{3435A5B8-A970-4F58-8511-72F16C463D20}" destId="{89A4E0A5-FD39-4D13-9B70-2D2622B9C1B9}" srcOrd="0" destOrd="0" presId="urn:microsoft.com/office/officeart/2005/8/layout/list1"/>
    <dgm:cxn modelId="{1F971A4A-3659-4836-9F97-6099D7FDC291}" type="presParOf" srcId="{3435A5B8-A970-4F58-8511-72F16C463D20}" destId="{457AA378-B501-46B0-A222-DD214B4B0934}" srcOrd="1" destOrd="0" presId="urn:microsoft.com/office/officeart/2005/8/layout/list1"/>
    <dgm:cxn modelId="{A464989A-4A28-48B7-B003-AFCB86FB2D59}" type="presParOf" srcId="{C1CE609E-04AD-4B9A-8CA3-98452D768FE5}" destId="{05049FE7-7881-4730-BDC6-734F586C26C6}" srcOrd="1" destOrd="0" presId="urn:microsoft.com/office/officeart/2005/8/layout/list1"/>
    <dgm:cxn modelId="{CC13CF0C-E1B4-4926-B44D-A041120D89B4}" type="presParOf" srcId="{C1CE609E-04AD-4B9A-8CA3-98452D768FE5}" destId="{8F0F55DE-C72D-4C5E-B71B-3F5F589870CF}"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15643B4-4431-492E-AF66-6D6C60FC09F0}"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nl-BE"/>
        </a:p>
      </dgm:t>
    </dgm:pt>
    <dgm:pt modelId="{5E4C8D33-0C84-4265-A6E0-794C370DFA7A}">
      <dgm:prSet/>
      <dgm:spPr>
        <a:xfrm>
          <a:off x="632066" y="0"/>
          <a:ext cx="8321040" cy="629232"/>
        </a:xfrm>
        <a:prstGeom prst="rect">
          <a:avLst/>
        </a:prstGeom>
      </dgm:spPr>
      <dgm:t>
        <a:bodyPr/>
        <a:lstStyle/>
        <a:p>
          <a:r>
            <a:rPr lang="en-US"/>
            <a:t>Sync</a:t>
          </a:r>
          <a:endParaRPr lang="nl-BE" dirty="0"/>
        </a:p>
      </dgm:t>
    </dgm:pt>
    <dgm:pt modelId="{66E5345C-69FB-482F-9157-1C4CBBE9CBF8}" type="parTrans" cxnId="{3880EBD4-E8DB-4E14-B202-3C2CDB29AF74}">
      <dgm:prSet/>
      <dgm:spPr/>
      <dgm:t>
        <a:bodyPr/>
        <a:lstStyle/>
        <a:p>
          <a:endParaRPr lang="nl-BE"/>
        </a:p>
      </dgm:t>
    </dgm:pt>
    <dgm:pt modelId="{8892BE8E-C5D7-41AE-87C4-41CF213B9212}" type="sibTrans" cxnId="{3880EBD4-E8DB-4E14-B202-3C2CDB29AF74}">
      <dgm:prSet/>
      <dgm:spPr/>
      <dgm:t>
        <a:bodyPr/>
        <a:lstStyle/>
        <a:p>
          <a:endParaRPr lang="nl-BE"/>
        </a:p>
      </dgm:t>
    </dgm:pt>
    <dgm:pt modelId="{FEECA63E-402E-43DD-9082-DD718B8EA9E8}">
      <dgm:prSet/>
      <dgm:spPr>
        <a:xfrm>
          <a:off x="0" y="6241"/>
          <a:ext cx="11887200" cy="2530237"/>
        </a:xfrm>
        <a:prstGeom prst="rect">
          <a:avLst/>
        </a:prstGeom>
      </dgm:spPr>
      <dgm:t>
        <a:bodyPr/>
        <a:lstStyle/>
        <a:p>
          <a:r>
            <a:rPr lang="en-US"/>
            <a:t>If possible, start with data in only one of the sync group's databases.</a:t>
          </a:r>
          <a:endParaRPr lang="nl-BE" dirty="0"/>
        </a:p>
      </dgm:t>
    </dgm:pt>
    <dgm:pt modelId="{F8EF6592-8985-4BD0-B6AB-9C019CF2BF89}" type="parTrans" cxnId="{81F2769A-C911-4486-9C1E-192DE7751481}">
      <dgm:prSet/>
      <dgm:spPr/>
      <dgm:t>
        <a:bodyPr/>
        <a:lstStyle/>
        <a:p>
          <a:endParaRPr lang="nl-BE"/>
        </a:p>
      </dgm:t>
    </dgm:pt>
    <dgm:pt modelId="{C6133EDB-3205-44D6-B377-65CC51198154}" type="sibTrans" cxnId="{81F2769A-C911-4486-9C1E-192DE7751481}">
      <dgm:prSet/>
      <dgm:spPr/>
      <dgm:t>
        <a:bodyPr/>
        <a:lstStyle/>
        <a:p>
          <a:endParaRPr lang="nl-BE"/>
        </a:p>
      </dgm:t>
    </dgm:pt>
    <dgm:pt modelId="{E5C08B38-DC1B-4570-B062-8B064EBF586A}">
      <dgm:prSet/>
      <dgm:spPr>
        <a:xfrm>
          <a:off x="0" y="6241"/>
          <a:ext cx="11887200" cy="2530237"/>
        </a:xfrm>
        <a:prstGeom prst="rect">
          <a:avLst/>
        </a:prstGeom>
      </dgm:spPr>
      <dgm:t>
        <a:bodyPr/>
        <a:lstStyle/>
        <a:p>
          <a:r>
            <a:rPr lang="nl-BE"/>
            <a:t>Avoid sync loops.</a:t>
          </a:r>
          <a:endParaRPr lang="nl-BE" dirty="0"/>
        </a:p>
      </dgm:t>
    </dgm:pt>
    <dgm:pt modelId="{8E68AAA9-69A3-48B0-9025-2AE42B696D89}" type="parTrans" cxnId="{453C229B-BFA3-43D3-9894-C408C473FA73}">
      <dgm:prSet/>
      <dgm:spPr/>
      <dgm:t>
        <a:bodyPr/>
        <a:lstStyle/>
        <a:p>
          <a:endParaRPr lang="nl-BE"/>
        </a:p>
      </dgm:t>
    </dgm:pt>
    <dgm:pt modelId="{2C921F11-8992-4750-B305-E39C29718FE7}" type="sibTrans" cxnId="{453C229B-BFA3-43D3-9894-C408C473FA73}">
      <dgm:prSet/>
      <dgm:spPr/>
      <dgm:t>
        <a:bodyPr/>
        <a:lstStyle/>
        <a:p>
          <a:endParaRPr lang="nl-BE"/>
        </a:p>
      </dgm:t>
    </dgm:pt>
    <dgm:pt modelId="{6B8FD377-0C4B-4795-A57F-8B07D82D58E2}">
      <dgm:prSet/>
      <dgm:spPr>
        <a:xfrm>
          <a:off x="0" y="6241"/>
          <a:ext cx="11887200" cy="2530237"/>
        </a:xfrm>
        <a:prstGeom prst="rect">
          <a:avLst/>
        </a:prstGeom>
      </dgm:spPr>
      <dgm:t>
        <a:bodyPr/>
        <a:lstStyle/>
        <a:p>
          <a:r>
            <a:rPr lang="en-US"/>
            <a:t>Monitor the sync group and database health regularly through the portal and log interface.</a:t>
          </a:r>
          <a:endParaRPr lang="nl-BE" dirty="0"/>
        </a:p>
      </dgm:t>
    </dgm:pt>
    <dgm:pt modelId="{0F421FF5-611C-413F-9AE1-B7AEEB1BF82C}" type="parTrans" cxnId="{0847A504-004C-4440-A941-CA95377E4DE1}">
      <dgm:prSet/>
      <dgm:spPr/>
      <dgm:t>
        <a:bodyPr/>
        <a:lstStyle/>
        <a:p>
          <a:endParaRPr lang="nl-BE"/>
        </a:p>
      </dgm:t>
    </dgm:pt>
    <dgm:pt modelId="{7F401C29-A105-432F-B3D6-9659EE027D85}" type="sibTrans" cxnId="{0847A504-004C-4440-A941-CA95377E4DE1}">
      <dgm:prSet/>
      <dgm:spPr/>
      <dgm:t>
        <a:bodyPr/>
        <a:lstStyle/>
        <a:p>
          <a:endParaRPr lang="nl-BE"/>
        </a:p>
      </dgm:t>
    </dgm:pt>
    <dgm:pt modelId="{43DF3444-BBEB-48A9-B957-B1A453FEC80E}">
      <dgm:prSet/>
      <dgm:spPr>
        <a:xfrm>
          <a:off x="594360" y="2657020"/>
          <a:ext cx="8321040" cy="629232"/>
        </a:xfrm>
        <a:prstGeom prst="rect">
          <a:avLst/>
        </a:prstGeom>
      </dgm:spPr>
      <dgm:t>
        <a:bodyPr/>
        <a:lstStyle/>
        <a:p>
          <a:r>
            <a:rPr lang="en-US"/>
            <a:t>Maintenance</a:t>
          </a:r>
          <a:endParaRPr lang="nl-BE" dirty="0"/>
        </a:p>
      </dgm:t>
    </dgm:pt>
    <dgm:pt modelId="{2C326B29-2ECC-4A47-BF64-0E32D28672D6}" type="parTrans" cxnId="{D5C3239A-645B-43B6-81FE-CF1647C7581C}">
      <dgm:prSet/>
      <dgm:spPr/>
      <dgm:t>
        <a:bodyPr/>
        <a:lstStyle/>
        <a:p>
          <a:endParaRPr lang="nl-BE"/>
        </a:p>
      </dgm:t>
    </dgm:pt>
    <dgm:pt modelId="{6619ED59-3744-47AA-86C5-D60AFC028558}" type="sibTrans" cxnId="{D5C3239A-645B-43B6-81FE-CF1647C7581C}">
      <dgm:prSet/>
      <dgm:spPr/>
      <dgm:t>
        <a:bodyPr/>
        <a:lstStyle/>
        <a:p>
          <a:endParaRPr lang="nl-BE"/>
        </a:p>
      </dgm:t>
    </dgm:pt>
    <dgm:pt modelId="{EE321AAA-E946-40E2-A7CF-E47572B8D662}">
      <dgm:prSet/>
      <dgm:spPr>
        <a:xfrm>
          <a:off x="0" y="2688350"/>
          <a:ext cx="11887200" cy="2891700"/>
        </a:xfrm>
        <a:prstGeom prst="rect">
          <a:avLst/>
        </a:prstGeom>
      </dgm:spPr>
      <dgm:t>
        <a:bodyPr/>
        <a:lstStyle/>
        <a:p>
          <a:r>
            <a:rPr lang="en-US"/>
            <a:t>Avoid an out-of-date status on a database.</a:t>
          </a:r>
          <a:endParaRPr lang="nl-BE" dirty="0"/>
        </a:p>
      </dgm:t>
    </dgm:pt>
    <dgm:pt modelId="{3099373C-A978-472E-A0CD-014DA4F6CE27}" type="parTrans" cxnId="{125AC5F5-178D-4F34-8A3F-FBA20BEA336F}">
      <dgm:prSet/>
      <dgm:spPr/>
      <dgm:t>
        <a:bodyPr/>
        <a:lstStyle/>
        <a:p>
          <a:endParaRPr lang="nl-BE"/>
        </a:p>
      </dgm:t>
    </dgm:pt>
    <dgm:pt modelId="{DC9035C4-50E0-4F57-BB18-8DACAB7C906B}" type="sibTrans" cxnId="{125AC5F5-178D-4F34-8A3F-FBA20BEA336F}">
      <dgm:prSet/>
      <dgm:spPr/>
      <dgm:t>
        <a:bodyPr/>
        <a:lstStyle/>
        <a:p>
          <a:endParaRPr lang="nl-BE"/>
        </a:p>
      </dgm:t>
    </dgm:pt>
    <dgm:pt modelId="{ECD65440-C7A6-44BF-B214-5A01853003B4}">
      <dgm:prSet/>
      <dgm:spPr>
        <a:xfrm>
          <a:off x="0" y="2688350"/>
          <a:ext cx="11887200" cy="2891700"/>
        </a:xfrm>
        <a:prstGeom prst="rect">
          <a:avLst/>
        </a:prstGeom>
      </dgm:spPr>
      <dgm:t>
        <a:bodyPr/>
        <a:lstStyle/>
        <a:p>
          <a:r>
            <a:rPr lang="en-US"/>
            <a:t>Avoid an out-of-date status on a sync group.</a:t>
          </a:r>
          <a:endParaRPr lang="nl-BE" dirty="0"/>
        </a:p>
      </dgm:t>
    </dgm:pt>
    <dgm:pt modelId="{75470EE1-F2AD-4ACE-8B8A-DBA8B6731FE4}" type="parTrans" cxnId="{E83C0E99-365C-4416-838A-BBEFA7819655}">
      <dgm:prSet/>
      <dgm:spPr/>
      <dgm:t>
        <a:bodyPr/>
        <a:lstStyle/>
        <a:p>
          <a:endParaRPr lang="nl-BE"/>
        </a:p>
      </dgm:t>
    </dgm:pt>
    <dgm:pt modelId="{5AA9548C-23F1-4740-98E0-05B58121DA49}" type="sibTrans" cxnId="{E83C0E99-365C-4416-838A-BBEFA7819655}">
      <dgm:prSet/>
      <dgm:spPr/>
      <dgm:t>
        <a:bodyPr/>
        <a:lstStyle/>
        <a:p>
          <a:endParaRPr lang="nl-BE"/>
        </a:p>
      </dgm:t>
    </dgm:pt>
    <dgm:pt modelId="{FE7D01B4-F75F-4CDE-99C3-CC14963F3104}">
      <dgm:prSet/>
      <dgm:spPr>
        <a:xfrm>
          <a:off x="0" y="2688350"/>
          <a:ext cx="11887200" cy="2891700"/>
        </a:xfrm>
        <a:prstGeom prst="rect">
          <a:avLst/>
        </a:prstGeom>
      </dgm:spPr>
      <dgm:t>
        <a:bodyPr/>
        <a:lstStyle/>
        <a:p>
          <a:r>
            <a:rPr lang="es-ES"/>
            <a:t>Avoid deprovisioning issues; </a:t>
          </a:r>
          <a:r>
            <a:rPr lang="en-US"/>
            <a:t>unregistering a database might cause sync to fail.</a:t>
          </a:r>
          <a:endParaRPr lang="nl-BE" dirty="0"/>
        </a:p>
      </dgm:t>
    </dgm:pt>
    <dgm:pt modelId="{BB8CB2D5-659A-44CE-AF46-94934B30BF4B}" type="parTrans" cxnId="{DC73DEE4-C61D-44EF-AAA0-B13295FA7831}">
      <dgm:prSet/>
      <dgm:spPr/>
      <dgm:t>
        <a:bodyPr/>
        <a:lstStyle/>
        <a:p>
          <a:endParaRPr lang="nl-BE"/>
        </a:p>
      </dgm:t>
    </dgm:pt>
    <dgm:pt modelId="{1157A56A-8A7A-40F2-9A5F-66F7F086FE10}" type="sibTrans" cxnId="{DC73DEE4-C61D-44EF-AAA0-B13295FA7831}">
      <dgm:prSet/>
      <dgm:spPr/>
      <dgm:t>
        <a:bodyPr/>
        <a:lstStyle/>
        <a:p>
          <a:endParaRPr lang="nl-BE"/>
        </a:p>
      </dgm:t>
    </dgm:pt>
    <dgm:pt modelId="{B28406A4-E0ED-4191-ABC6-26DD0CE5BEF1}">
      <dgm:prSet/>
      <dgm:spPr>
        <a:xfrm>
          <a:off x="0" y="2688350"/>
          <a:ext cx="11887200" cy="2891700"/>
        </a:xfrm>
        <a:prstGeom prst="rect">
          <a:avLst/>
        </a:prstGeom>
      </dgm:spPr>
      <dgm:t>
        <a:bodyPr/>
        <a:lstStyle/>
        <a:p>
          <a:r>
            <a:rPr lang="en-US"/>
            <a:t>Modifying a sync group is a step-by-step process, don't attempt to remove a database from a sync group and then edit the sync group in one action.</a:t>
          </a:r>
          <a:endParaRPr lang="nl-BE" dirty="0"/>
        </a:p>
      </dgm:t>
    </dgm:pt>
    <dgm:pt modelId="{17E6B071-13DC-49CF-870B-66A63A329160}" type="parTrans" cxnId="{ED0F5CCD-25F1-45E2-A242-1BEFDC27B89E}">
      <dgm:prSet/>
      <dgm:spPr/>
      <dgm:t>
        <a:bodyPr/>
        <a:lstStyle/>
        <a:p>
          <a:endParaRPr lang="es-ES"/>
        </a:p>
      </dgm:t>
    </dgm:pt>
    <dgm:pt modelId="{49A880DB-4F22-412E-9AC1-9ECADCA55DB8}" type="sibTrans" cxnId="{ED0F5CCD-25F1-45E2-A242-1BEFDC27B89E}">
      <dgm:prSet/>
      <dgm:spPr/>
      <dgm:t>
        <a:bodyPr/>
        <a:lstStyle/>
        <a:p>
          <a:endParaRPr lang="es-ES"/>
        </a:p>
      </dgm:t>
    </dgm:pt>
    <dgm:pt modelId="{20BA032D-3B7F-4663-8CA0-9DEC2938F883}" type="pres">
      <dgm:prSet presAssocID="{515643B4-4431-492E-AF66-6D6C60FC09F0}" presName="linear" presStyleCnt="0">
        <dgm:presLayoutVars>
          <dgm:dir/>
          <dgm:animLvl val="lvl"/>
          <dgm:resizeHandles val="exact"/>
        </dgm:presLayoutVars>
      </dgm:prSet>
      <dgm:spPr/>
    </dgm:pt>
    <dgm:pt modelId="{6A36E558-6770-4315-97B4-80A91E49DC14}" type="pres">
      <dgm:prSet presAssocID="{5E4C8D33-0C84-4265-A6E0-794C370DFA7A}" presName="parentLin" presStyleCnt="0"/>
      <dgm:spPr/>
    </dgm:pt>
    <dgm:pt modelId="{C245A97F-D616-43C2-B122-01975536BA45}" type="pres">
      <dgm:prSet presAssocID="{5E4C8D33-0C84-4265-A6E0-794C370DFA7A}" presName="parentLeftMargin" presStyleLbl="node1" presStyleIdx="0" presStyleCnt="2"/>
      <dgm:spPr/>
    </dgm:pt>
    <dgm:pt modelId="{8AB47D91-0E95-49E4-82A9-D034D596F94D}" type="pres">
      <dgm:prSet presAssocID="{5E4C8D33-0C84-4265-A6E0-794C370DFA7A}" presName="parentText" presStyleLbl="node1" presStyleIdx="0" presStyleCnt="2">
        <dgm:presLayoutVars>
          <dgm:chMax val="0"/>
          <dgm:bulletEnabled val="1"/>
        </dgm:presLayoutVars>
      </dgm:prSet>
      <dgm:spPr/>
    </dgm:pt>
    <dgm:pt modelId="{6DFB7143-A295-4EB2-9407-A9E507700A90}" type="pres">
      <dgm:prSet presAssocID="{5E4C8D33-0C84-4265-A6E0-794C370DFA7A}" presName="negativeSpace" presStyleCnt="0"/>
      <dgm:spPr/>
    </dgm:pt>
    <dgm:pt modelId="{6FF616B3-A3C8-4D6C-933D-8FF698909F88}" type="pres">
      <dgm:prSet presAssocID="{5E4C8D33-0C84-4265-A6E0-794C370DFA7A}" presName="childText" presStyleLbl="conFgAcc1" presStyleIdx="0" presStyleCnt="2">
        <dgm:presLayoutVars>
          <dgm:bulletEnabled val="1"/>
        </dgm:presLayoutVars>
      </dgm:prSet>
      <dgm:spPr/>
    </dgm:pt>
    <dgm:pt modelId="{AB932165-2DAA-4993-8D10-3C28D9014071}" type="pres">
      <dgm:prSet presAssocID="{8892BE8E-C5D7-41AE-87C4-41CF213B9212}" presName="spaceBetweenRectangles" presStyleCnt="0"/>
      <dgm:spPr/>
    </dgm:pt>
    <dgm:pt modelId="{D726CC21-F48A-4A71-84FE-495CFB828177}" type="pres">
      <dgm:prSet presAssocID="{43DF3444-BBEB-48A9-B957-B1A453FEC80E}" presName="parentLin" presStyleCnt="0"/>
      <dgm:spPr/>
    </dgm:pt>
    <dgm:pt modelId="{0D22C4F8-B780-411E-9E38-042884FBA752}" type="pres">
      <dgm:prSet presAssocID="{43DF3444-BBEB-48A9-B957-B1A453FEC80E}" presName="parentLeftMargin" presStyleLbl="node1" presStyleIdx="0" presStyleCnt="2"/>
      <dgm:spPr/>
    </dgm:pt>
    <dgm:pt modelId="{200385FF-DD40-43F6-B5BC-B1DAACE8E92B}" type="pres">
      <dgm:prSet presAssocID="{43DF3444-BBEB-48A9-B957-B1A453FEC80E}" presName="parentText" presStyleLbl="node1" presStyleIdx="1" presStyleCnt="2">
        <dgm:presLayoutVars>
          <dgm:chMax val="0"/>
          <dgm:bulletEnabled val="1"/>
        </dgm:presLayoutVars>
      </dgm:prSet>
      <dgm:spPr/>
    </dgm:pt>
    <dgm:pt modelId="{42BBA26A-63A6-4BA8-9402-8A137EA2B44E}" type="pres">
      <dgm:prSet presAssocID="{43DF3444-BBEB-48A9-B957-B1A453FEC80E}" presName="negativeSpace" presStyleCnt="0"/>
      <dgm:spPr/>
    </dgm:pt>
    <dgm:pt modelId="{2382CAE7-E715-460E-A67C-9C94532AB3F0}" type="pres">
      <dgm:prSet presAssocID="{43DF3444-BBEB-48A9-B957-B1A453FEC80E}" presName="childText" presStyleLbl="conFgAcc1" presStyleIdx="1" presStyleCnt="2">
        <dgm:presLayoutVars>
          <dgm:bulletEnabled val="1"/>
        </dgm:presLayoutVars>
      </dgm:prSet>
      <dgm:spPr/>
    </dgm:pt>
  </dgm:ptLst>
  <dgm:cxnLst>
    <dgm:cxn modelId="{0847A504-004C-4440-A941-CA95377E4DE1}" srcId="{5E4C8D33-0C84-4265-A6E0-794C370DFA7A}" destId="{6B8FD377-0C4B-4795-A57F-8B07D82D58E2}" srcOrd="2" destOrd="0" parTransId="{0F421FF5-611C-413F-9AE1-B7AEEB1BF82C}" sibTransId="{7F401C29-A105-432F-B3D6-9659EE027D85}"/>
    <dgm:cxn modelId="{3B8AD304-15DF-4678-9F0F-A85A9C03639F}" type="presOf" srcId="{EE321AAA-E946-40E2-A7CF-E47572B8D662}" destId="{2382CAE7-E715-460E-A67C-9C94532AB3F0}" srcOrd="0" destOrd="0" presId="urn:microsoft.com/office/officeart/2005/8/layout/list1"/>
    <dgm:cxn modelId="{C3D97D23-D47E-4D51-8E07-DCF631F82454}" type="presOf" srcId="{FE7D01B4-F75F-4CDE-99C3-CC14963F3104}" destId="{2382CAE7-E715-460E-A67C-9C94532AB3F0}" srcOrd="0" destOrd="2" presId="urn:microsoft.com/office/officeart/2005/8/layout/list1"/>
    <dgm:cxn modelId="{20740835-5F9F-4E6F-BBC9-42D045BD47AF}" type="presOf" srcId="{43DF3444-BBEB-48A9-B957-B1A453FEC80E}" destId="{0D22C4F8-B780-411E-9E38-042884FBA752}" srcOrd="0" destOrd="0" presId="urn:microsoft.com/office/officeart/2005/8/layout/list1"/>
    <dgm:cxn modelId="{24037961-0E40-4965-80A0-807B114FA7F9}" type="presOf" srcId="{B28406A4-E0ED-4191-ABC6-26DD0CE5BEF1}" destId="{2382CAE7-E715-460E-A67C-9C94532AB3F0}" srcOrd="0" destOrd="3" presId="urn:microsoft.com/office/officeart/2005/8/layout/list1"/>
    <dgm:cxn modelId="{8BE6064C-1C27-4640-A16F-249DC129C8D4}" type="presOf" srcId="{5E4C8D33-0C84-4265-A6E0-794C370DFA7A}" destId="{8AB47D91-0E95-49E4-82A9-D034D596F94D}" srcOrd="1" destOrd="0" presId="urn:microsoft.com/office/officeart/2005/8/layout/list1"/>
    <dgm:cxn modelId="{E83C0E99-365C-4416-838A-BBEFA7819655}" srcId="{43DF3444-BBEB-48A9-B957-B1A453FEC80E}" destId="{ECD65440-C7A6-44BF-B214-5A01853003B4}" srcOrd="1" destOrd="0" parTransId="{75470EE1-F2AD-4ACE-8B8A-DBA8B6731FE4}" sibTransId="{5AA9548C-23F1-4740-98E0-05B58121DA49}"/>
    <dgm:cxn modelId="{D5C3239A-645B-43B6-81FE-CF1647C7581C}" srcId="{515643B4-4431-492E-AF66-6D6C60FC09F0}" destId="{43DF3444-BBEB-48A9-B957-B1A453FEC80E}" srcOrd="1" destOrd="0" parTransId="{2C326B29-2ECC-4A47-BF64-0E32D28672D6}" sibTransId="{6619ED59-3744-47AA-86C5-D60AFC028558}"/>
    <dgm:cxn modelId="{81F2769A-C911-4486-9C1E-192DE7751481}" srcId="{5E4C8D33-0C84-4265-A6E0-794C370DFA7A}" destId="{FEECA63E-402E-43DD-9082-DD718B8EA9E8}" srcOrd="0" destOrd="0" parTransId="{F8EF6592-8985-4BD0-B6AB-9C019CF2BF89}" sibTransId="{C6133EDB-3205-44D6-B377-65CC51198154}"/>
    <dgm:cxn modelId="{453C229B-BFA3-43D3-9894-C408C473FA73}" srcId="{5E4C8D33-0C84-4265-A6E0-794C370DFA7A}" destId="{E5C08B38-DC1B-4570-B062-8B064EBF586A}" srcOrd="1" destOrd="0" parTransId="{8E68AAA9-69A3-48B0-9025-2AE42B696D89}" sibTransId="{2C921F11-8992-4750-B305-E39C29718FE7}"/>
    <dgm:cxn modelId="{D15FE4AF-FFBD-4E11-9C56-1E4D73071BB5}" type="presOf" srcId="{5E4C8D33-0C84-4265-A6E0-794C370DFA7A}" destId="{C245A97F-D616-43C2-B122-01975536BA45}" srcOrd="0" destOrd="0" presId="urn:microsoft.com/office/officeart/2005/8/layout/list1"/>
    <dgm:cxn modelId="{7A1F58B1-029F-418F-BCFA-815E3EF05DC9}" type="presOf" srcId="{E5C08B38-DC1B-4570-B062-8B064EBF586A}" destId="{6FF616B3-A3C8-4D6C-933D-8FF698909F88}" srcOrd="0" destOrd="1" presId="urn:microsoft.com/office/officeart/2005/8/layout/list1"/>
    <dgm:cxn modelId="{237A30CD-F2BD-475F-80D5-E1EF60547C4A}" type="presOf" srcId="{ECD65440-C7A6-44BF-B214-5A01853003B4}" destId="{2382CAE7-E715-460E-A67C-9C94532AB3F0}" srcOrd="0" destOrd="1" presId="urn:microsoft.com/office/officeart/2005/8/layout/list1"/>
    <dgm:cxn modelId="{ED0F5CCD-25F1-45E2-A242-1BEFDC27B89E}" srcId="{43DF3444-BBEB-48A9-B957-B1A453FEC80E}" destId="{B28406A4-E0ED-4191-ABC6-26DD0CE5BEF1}" srcOrd="3" destOrd="0" parTransId="{17E6B071-13DC-49CF-870B-66A63A329160}" sibTransId="{49A880DB-4F22-412E-9AC1-9ECADCA55DB8}"/>
    <dgm:cxn modelId="{667D4DD1-3FE8-4580-97EC-40FC303B1051}" type="presOf" srcId="{43DF3444-BBEB-48A9-B957-B1A453FEC80E}" destId="{200385FF-DD40-43F6-B5BC-B1DAACE8E92B}" srcOrd="1" destOrd="0" presId="urn:microsoft.com/office/officeart/2005/8/layout/list1"/>
    <dgm:cxn modelId="{3880EBD4-E8DB-4E14-B202-3C2CDB29AF74}" srcId="{515643B4-4431-492E-AF66-6D6C60FC09F0}" destId="{5E4C8D33-0C84-4265-A6E0-794C370DFA7A}" srcOrd="0" destOrd="0" parTransId="{66E5345C-69FB-482F-9157-1C4CBBE9CBF8}" sibTransId="{8892BE8E-C5D7-41AE-87C4-41CF213B9212}"/>
    <dgm:cxn modelId="{69A941D6-F9F2-4EF0-986A-728FE5CAD79A}" type="presOf" srcId="{515643B4-4431-492E-AF66-6D6C60FC09F0}" destId="{20BA032D-3B7F-4663-8CA0-9DEC2938F883}" srcOrd="0" destOrd="0" presId="urn:microsoft.com/office/officeart/2005/8/layout/list1"/>
    <dgm:cxn modelId="{DC73DEE4-C61D-44EF-AAA0-B13295FA7831}" srcId="{43DF3444-BBEB-48A9-B957-B1A453FEC80E}" destId="{FE7D01B4-F75F-4CDE-99C3-CC14963F3104}" srcOrd="2" destOrd="0" parTransId="{BB8CB2D5-659A-44CE-AF46-94934B30BF4B}" sibTransId="{1157A56A-8A7A-40F2-9A5F-66F7F086FE10}"/>
    <dgm:cxn modelId="{903769ED-8A03-455D-8DD7-B6A28692AE17}" type="presOf" srcId="{FEECA63E-402E-43DD-9082-DD718B8EA9E8}" destId="{6FF616B3-A3C8-4D6C-933D-8FF698909F88}" srcOrd="0" destOrd="0" presId="urn:microsoft.com/office/officeart/2005/8/layout/list1"/>
    <dgm:cxn modelId="{125AC5F5-178D-4F34-8A3F-FBA20BEA336F}" srcId="{43DF3444-BBEB-48A9-B957-B1A453FEC80E}" destId="{EE321AAA-E946-40E2-A7CF-E47572B8D662}" srcOrd="0" destOrd="0" parTransId="{3099373C-A978-472E-A0CD-014DA4F6CE27}" sibTransId="{DC9035C4-50E0-4F57-BB18-8DACAB7C906B}"/>
    <dgm:cxn modelId="{1CA7A2FC-57AE-4446-9576-12B35D81794B}" type="presOf" srcId="{6B8FD377-0C4B-4795-A57F-8B07D82D58E2}" destId="{6FF616B3-A3C8-4D6C-933D-8FF698909F88}" srcOrd="0" destOrd="2" presId="urn:microsoft.com/office/officeart/2005/8/layout/list1"/>
    <dgm:cxn modelId="{9B35EF61-ADD0-4AAB-8722-158AD1748A3E}" type="presParOf" srcId="{20BA032D-3B7F-4663-8CA0-9DEC2938F883}" destId="{6A36E558-6770-4315-97B4-80A91E49DC14}" srcOrd="0" destOrd="0" presId="urn:microsoft.com/office/officeart/2005/8/layout/list1"/>
    <dgm:cxn modelId="{0C591C02-F6A2-4548-A5F8-8036540EA3AB}" type="presParOf" srcId="{6A36E558-6770-4315-97B4-80A91E49DC14}" destId="{C245A97F-D616-43C2-B122-01975536BA45}" srcOrd="0" destOrd="0" presId="urn:microsoft.com/office/officeart/2005/8/layout/list1"/>
    <dgm:cxn modelId="{39F83EC2-ECA8-4C44-980C-ECC7B9C0DB75}" type="presParOf" srcId="{6A36E558-6770-4315-97B4-80A91E49DC14}" destId="{8AB47D91-0E95-49E4-82A9-D034D596F94D}" srcOrd="1" destOrd="0" presId="urn:microsoft.com/office/officeart/2005/8/layout/list1"/>
    <dgm:cxn modelId="{DD781382-1E22-444E-A9C6-9961629B1B21}" type="presParOf" srcId="{20BA032D-3B7F-4663-8CA0-9DEC2938F883}" destId="{6DFB7143-A295-4EB2-9407-A9E507700A90}" srcOrd="1" destOrd="0" presId="urn:microsoft.com/office/officeart/2005/8/layout/list1"/>
    <dgm:cxn modelId="{F8C12D3E-E998-4409-A27D-E4EE3990D2D6}" type="presParOf" srcId="{20BA032D-3B7F-4663-8CA0-9DEC2938F883}" destId="{6FF616B3-A3C8-4D6C-933D-8FF698909F88}" srcOrd="2" destOrd="0" presId="urn:microsoft.com/office/officeart/2005/8/layout/list1"/>
    <dgm:cxn modelId="{106D5570-F645-4C2D-BF9E-D7D77259F357}" type="presParOf" srcId="{20BA032D-3B7F-4663-8CA0-9DEC2938F883}" destId="{AB932165-2DAA-4993-8D10-3C28D9014071}" srcOrd="3" destOrd="0" presId="urn:microsoft.com/office/officeart/2005/8/layout/list1"/>
    <dgm:cxn modelId="{4D4BD9A1-B4CD-461E-A40A-97CF5CA42357}" type="presParOf" srcId="{20BA032D-3B7F-4663-8CA0-9DEC2938F883}" destId="{D726CC21-F48A-4A71-84FE-495CFB828177}" srcOrd="4" destOrd="0" presId="urn:microsoft.com/office/officeart/2005/8/layout/list1"/>
    <dgm:cxn modelId="{632C0777-15CB-403F-B167-3641965639AC}" type="presParOf" srcId="{D726CC21-F48A-4A71-84FE-495CFB828177}" destId="{0D22C4F8-B780-411E-9E38-042884FBA752}" srcOrd="0" destOrd="0" presId="urn:microsoft.com/office/officeart/2005/8/layout/list1"/>
    <dgm:cxn modelId="{F660589A-AEAE-4D82-9C82-F66A8D5D1F46}" type="presParOf" srcId="{D726CC21-F48A-4A71-84FE-495CFB828177}" destId="{200385FF-DD40-43F6-B5BC-B1DAACE8E92B}" srcOrd="1" destOrd="0" presId="urn:microsoft.com/office/officeart/2005/8/layout/list1"/>
    <dgm:cxn modelId="{79B43FAE-2BF7-4B24-816D-BFB4E0B0AF08}" type="presParOf" srcId="{20BA032D-3B7F-4663-8CA0-9DEC2938F883}" destId="{42BBA26A-63A6-4BA8-9402-8A137EA2B44E}" srcOrd="5" destOrd="0" presId="urn:microsoft.com/office/officeart/2005/8/layout/list1"/>
    <dgm:cxn modelId="{84BE1BEC-AA5E-4458-83E9-F2B9890E10BC}" type="presParOf" srcId="{20BA032D-3B7F-4663-8CA0-9DEC2938F883}" destId="{2382CAE7-E715-460E-A67C-9C94532AB3F0}"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24593F7-81D8-441D-AEDC-93AF8D363F96}"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s-ES"/>
        </a:p>
      </dgm:t>
    </dgm:pt>
    <dgm:pt modelId="{CD5E5760-AC3F-45AE-883A-29C7DB32A9F9}">
      <dgm:prSet phldrT="[Text]" custT="1"/>
      <dgm:spPr>
        <a:xfrm>
          <a:off x="569386" y="158640"/>
          <a:ext cx="7971416" cy="915120"/>
        </a:xfrm>
        <a:prstGeom prst="rect">
          <a:avLst/>
        </a:prstGeom>
      </dgm:spPr>
      <dgm:t>
        <a:bodyPr/>
        <a:lstStyle/>
        <a:p>
          <a:pPr>
            <a:buNone/>
          </a:pPr>
          <a:r>
            <a:rPr lang="en-US" sz="2400" dirty="0">
              <a:latin typeface="Segoe UI"/>
              <a:ea typeface="+mn-ea"/>
              <a:cs typeface="+mn-cs"/>
            </a:rPr>
            <a:t>You need to configure three components:</a:t>
          </a:r>
          <a:endParaRPr lang="es-ES" sz="2400" dirty="0">
            <a:latin typeface="Segoe UI"/>
            <a:ea typeface="+mn-ea"/>
            <a:cs typeface="+mn-cs"/>
          </a:endParaRPr>
        </a:p>
      </dgm:t>
    </dgm:pt>
    <dgm:pt modelId="{55F916E5-666F-4A23-97A9-16506B19E8E3}" type="parTrans" cxnId="{0C78172F-955C-4FD2-A637-EA7C7B653D77}">
      <dgm:prSet/>
      <dgm:spPr/>
      <dgm:t>
        <a:bodyPr/>
        <a:lstStyle/>
        <a:p>
          <a:endParaRPr lang="es-ES"/>
        </a:p>
      </dgm:t>
    </dgm:pt>
    <dgm:pt modelId="{1BABEC8A-AB8E-4C5C-A0C2-0FD0D83AEF24}" type="sibTrans" cxnId="{0C78172F-955C-4FD2-A637-EA7C7B653D77}">
      <dgm:prSet/>
      <dgm:spPr/>
      <dgm:t>
        <a:bodyPr/>
        <a:lstStyle/>
        <a:p>
          <a:endParaRPr lang="es-ES"/>
        </a:p>
      </dgm:t>
    </dgm:pt>
    <dgm:pt modelId="{C40B3C38-0E20-4EB4-AD0C-E385D3215068}">
      <dgm:prSet custT="1"/>
      <dgm:spPr>
        <a:xfrm>
          <a:off x="0" y="616200"/>
          <a:ext cx="11387738" cy="2734200"/>
        </a:xfrm>
        <a:prstGeom prst="rect">
          <a:avLst/>
        </a:prstGeom>
      </dgm:spPr>
      <dgm:t>
        <a:bodyPr/>
        <a:lstStyle/>
        <a:p>
          <a:pPr>
            <a:buChar char="•"/>
          </a:pPr>
          <a:r>
            <a:rPr lang="en-US" sz="2000" dirty="0">
              <a:latin typeface="Segoe UI Light" pitchFamily="34" charset="0"/>
              <a:ea typeface="+mn-ea"/>
              <a:cs typeface="+mn-cs"/>
            </a:rPr>
            <a:t>A PowerShell runbook to feed SQL Data Sync log data to Azure Monitor logs.</a:t>
          </a:r>
        </a:p>
      </dgm:t>
    </dgm:pt>
    <dgm:pt modelId="{0ECDCF0E-9948-404E-8C3C-DFC94DDE50BB}" type="parTrans" cxnId="{ED4315A8-E075-41AF-B5D4-EFF373E696E8}">
      <dgm:prSet/>
      <dgm:spPr/>
      <dgm:t>
        <a:bodyPr/>
        <a:lstStyle/>
        <a:p>
          <a:endParaRPr lang="es-ES"/>
        </a:p>
      </dgm:t>
    </dgm:pt>
    <dgm:pt modelId="{3BF083CD-E3E4-4148-98C8-F350208BA356}" type="sibTrans" cxnId="{ED4315A8-E075-41AF-B5D4-EFF373E696E8}">
      <dgm:prSet/>
      <dgm:spPr/>
      <dgm:t>
        <a:bodyPr/>
        <a:lstStyle/>
        <a:p>
          <a:endParaRPr lang="es-ES"/>
        </a:p>
      </dgm:t>
    </dgm:pt>
    <dgm:pt modelId="{5224B426-6CB2-4DEA-845B-463DF383B413}">
      <dgm:prSet custT="1"/>
      <dgm:spPr>
        <a:xfrm>
          <a:off x="0" y="616200"/>
          <a:ext cx="11387738" cy="2734200"/>
        </a:xfrm>
        <a:prstGeom prst="rect">
          <a:avLst/>
        </a:prstGeom>
      </dgm:spPr>
      <dgm:t>
        <a:bodyPr/>
        <a:lstStyle/>
        <a:p>
          <a:pPr>
            <a:buChar char="•"/>
          </a:pPr>
          <a:r>
            <a:rPr lang="en-US" sz="2000" dirty="0">
              <a:latin typeface="Segoe UI Light" pitchFamily="34" charset="0"/>
              <a:ea typeface="+mn-ea"/>
              <a:cs typeface="+mn-cs"/>
            </a:rPr>
            <a:t>An Azure Monitor alert for email notifications.</a:t>
          </a:r>
        </a:p>
      </dgm:t>
    </dgm:pt>
    <dgm:pt modelId="{4027F78D-34DB-4817-9396-396289346789}" type="parTrans" cxnId="{8829D5A2-9CFC-42A3-9D41-58F7ED6B9787}">
      <dgm:prSet/>
      <dgm:spPr/>
      <dgm:t>
        <a:bodyPr/>
        <a:lstStyle/>
        <a:p>
          <a:endParaRPr lang="es-ES"/>
        </a:p>
      </dgm:t>
    </dgm:pt>
    <dgm:pt modelId="{80DCFB32-C823-4D07-8963-74B33519F024}" type="sibTrans" cxnId="{8829D5A2-9CFC-42A3-9D41-58F7ED6B9787}">
      <dgm:prSet/>
      <dgm:spPr/>
      <dgm:t>
        <a:bodyPr/>
        <a:lstStyle/>
        <a:p>
          <a:endParaRPr lang="es-ES"/>
        </a:p>
      </dgm:t>
    </dgm:pt>
    <dgm:pt modelId="{E1B29070-D789-458C-967D-C883B5692E89}">
      <dgm:prSet custT="1"/>
      <dgm:spPr>
        <a:xfrm>
          <a:off x="0" y="616200"/>
          <a:ext cx="11387738" cy="2734200"/>
        </a:xfrm>
        <a:prstGeom prst="rect">
          <a:avLst/>
        </a:prstGeom>
      </dgm:spPr>
      <dgm:t>
        <a:bodyPr/>
        <a:lstStyle/>
        <a:p>
          <a:pPr>
            <a:buChar char="•"/>
          </a:pPr>
          <a:r>
            <a:rPr lang="en-US" sz="2000" dirty="0">
              <a:latin typeface="Segoe UI Light" pitchFamily="34" charset="0"/>
              <a:ea typeface="+mn-ea"/>
              <a:cs typeface="+mn-cs"/>
            </a:rPr>
            <a:t>An Azure Monitor View for monitoring.</a:t>
          </a:r>
          <a:endParaRPr lang="es-ES" sz="2000" dirty="0">
            <a:latin typeface="Segoe UI"/>
            <a:ea typeface="+mn-ea"/>
            <a:cs typeface="+mn-cs"/>
          </a:endParaRPr>
        </a:p>
      </dgm:t>
    </dgm:pt>
    <dgm:pt modelId="{92926CA3-C65E-42B4-9C1D-C531B290ACAD}" type="parTrans" cxnId="{8C8E06EA-EDE8-4984-B54D-2C9AE0D8EAEE}">
      <dgm:prSet/>
      <dgm:spPr/>
      <dgm:t>
        <a:bodyPr/>
        <a:lstStyle/>
        <a:p>
          <a:endParaRPr lang="es-ES"/>
        </a:p>
      </dgm:t>
    </dgm:pt>
    <dgm:pt modelId="{DEF40508-ED96-48BC-9F58-FD9C0E363138}" type="sibTrans" cxnId="{8C8E06EA-EDE8-4984-B54D-2C9AE0D8EAEE}">
      <dgm:prSet/>
      <dgm:spPr/>
      <dgm:t>
        <a:bodyPr/>
        <a:lstStyle/>
        <a:p>
          <a:endParaRPr lang="es-ES"/>
        </a:p>
      </dgm:t>
    </dgm:pt>
    <dgm:pt modelId="{EE366265-2C59-44AA-96A7-1FC0234F4E3A}" type="pres">
      <dgm:prSet presAssocID="{124593F7-81D8-441D-AEDC-93AF8D363F96}" presName="linear" presStyleCnt="0">
        <dgm:presLayoutVars>
          <dgm:dir/>
          <dgm:animLvl val="lvl"/>
          <dgm:resizeHandles val="exact"/>
        </dgm:presLayoutVars>
      </dgm:prSet>
      <dgm:spPr/>
    </dgm:pt>
    <dgm:pt modelId="{F56904D0-463C-4D78-907F-5CACFEBA5E3E}" type="pres">
      <dgm:prSet presAssocID="{CD5E5760-AC3F-45AE-883A-29C7DB32A9F9}" presName="parentLin" presStyleCnt="0"/>
      <dgm:spPr/>
    </dgm:pt>
    <dgm:pt modelId="{965A5B93-3421-46C7-8F26-C276339C97B8}" type="pres">
      <dgm:prSet presAssocID="{CD5E5760-AC3F-45AE-883A-29C7DB32A9F9}" presName="parentLeftMargin" presStyleLbl="node1" presStyleIdx="0" presStyleCnt="1"/>
      <dgm:spPr/>
    </dgm:pt>
    <dgm:pt modelId="{4BF9615A-9CFF-4E9A-AD3E-96B7E38500E3}" type="pres">
      <dgm:prSet presAssocID="{CD5E5760-AC3F-45AE-883A-29C7DB32A9F9}" presName="parentText" presStyleLbl="node1" presStyleIdx="0" presStyleCnt="1">
        <dgm:presLayoutVars>
          <dgm:chMax val="0"/>
          <dgm:bulletEnabled val="1"/>
        </dgm:presLayoutVars>
      </dgm:prSet>
      <dgm:spPr>
        <a:prstGeom prst="rect">
          <a:avLst/>
        </a:prstGeom>
      </dgm:spPr>
    </dgm:pt>
    <dgm:pt modelId="{3E876B2F-933B-4FEA-99BF-7D621B0FAD55}" type="pres">
      <dgm:prSet presAssocID="{CD5E5760-AC3F-45AE-883A-29C7DB32A9F9}" presName="negativeSpace" presStyleCnt="0"/>
      <dgm:spPr/>
    </dgm:pt>
    <dgm:pt modelId="{23EFD39C-7C00-4474-8F50-6B6A0F4C0F20}" type="pres">
      <dgm:prSet presAssocID="{CD5E5760-AC3F-45AE-883A-29C7DB32A9F9}" presName="childText" presStyleLbl="conFgAcc1" presStyleIdx="0" presStyleCnt="1">
        <dgm:presLayoutVars>
          <dgm:bulletEnabled val="1"/>
        </dgm:presLayoutVars>
      </dgm:prSet>
      <dgm:spPr/>
    </dgm:pt>
  </dgm:ptLst>
  <dgm:cxnLst>
    <dgm:cxn modelId="{29BE571C-20A5-4A03-8188-CDDB5CCAED11}" type="presOf" srcId="{5224B426-6CB2-4DEA-845B-463DF383B413}" destId="{23EFD39C-7C00-4474-8F50-6B6A0F4C0F20}" srcOrd="0" destOrd="1" presId="urn:microsoft.com/office/officeart/2005/8/layout/list1"/>
    <dgm:cxn modelId="{0C78172F-955C-4FD2-A637-EA7C7B653D77}" srcId="{124593F7-81D8-441D-AEDC-93AF8D363F96}" destId="{CD5E5760-AC3F-45AE-883A-29C7DB32A9F9}" srcOrd="0" destOrd="0" parTransId="{55F916E5-666F-4A23-97A9-16506B19E8E3}" sibTransId="{1BABEC8A-AB8E-4C5C-A0C2-0FD0D83AEF24}"/>
    <dgm:cxn modelId="{ABCAE057-1F28-487D-8C26-B085EDF40FFB}" type="presOf" srcId="{CD5E5760-AC3F-45AE-883A-29C7DB32A9F9}" destId="{965A5B93-3421-46C7-8F26-C276339C97B8}" srcOrd="0" destOrd="0" presId="urn:microsoft.com/office/officeart/2005/8/layout/list1"/>
    <dgm:cxn modelId="{59FB828E-F4C8-4471-AC15-68AC20A30028}" type="presOf" srcId="{E1B29070-D789-458C-967D-C883B5692E89}" destId="{23EFD39C-7C00-4474-8F50-6B6A0F4C0F20}" srcOrd="0" destOrd="2" presId="urn:microsoft.com/office/officeart/2005/8/layout/list1"/>
    <dgm:cxn modelId="{8829D5A2-9CFC-42A3-9D41-58F7ED6B9787}" srcId="{CD5E5760-AC3F-45AE-883A-29C7DB32A9F9}" destId="{5224B426-6CB2-4DEA-845B-463DF383B413}" srcOrd="1" destOrd="0" parTransId="{4027F78D-34DB-4817-9396-396289346789}" sibTransId="{80DCFB32-C823-4D07-8963-74B33519F024}"/>
    <dgm:cxn modelId="{ED4315A8-E075-41AF-B5D4-EFF373E696E8}" srcId="{CD5E5760-AC3F-45AE-883A-29C7DB32A9F9}" destId="{C40B3C38-0E20-4EB4-AD0C-E385D3215068}" srcOrd="0" destOrd="0" parTransId="{0ECDCF0E-9948-404E-8C3C-DFC94DDE50BB}" sibTransId="{3BF083CD-E3E4-4148-98C8-F350208BA356}"/>
    <dgm:cxn modelId="{5C7822DD-B497-458D-9502-828A202DF81A}" type="presOf" srcId="{C40B3C38-0E20-4EB4-AD0C-E385D3215068}" destId="{23EFD39C-7C00-4474-8F50-6B6A0F4C0F20}" srcOrd="0" destOrd="0" presId="urn:microsoft.com/office/officeart/2005/8/layout/list1"/>
    <dgm:cxn modelId="{4D4FA0E5-B44E-4EC2-9CBA-D6F5D6B867F2}" type="presOf" srcId="{CD5E5760-AC3F-45AE-883A-29C7DB32A9F9}" destId="{4BF9615A-9CFF-4E9A-AD3E-96B7E38500E3}" srcOrd="1" destOrd="0" presId="urn:microsoft.com/office/officeart/2005/8/layout/list1"/>
    <dgm:cxn modelId="{8C8E06EA-EDE8-4984-B54D-2C9AE0D8EAEE}" srcId="{CD5E5760-AC3F-45AE-883A-29C7DB32A9F9}" destId="{E1B29070-D789-458C-967D-C883B5692E89}" srcOrd="2" destOrd="0" parTransId="{92926CA3-C65E-42B4-9C1D-C531B290ACAD}" sibTransId="{DEF40508-ED96-48BC-9F58-FD9C0E363138}"/>
    <dgm:cxn modelId="{7F6B8AFA-F2E2-4FE8-8EE9-980B72A8EFCE}" type="presOf" srcId="{124593F7-81D8-441D-AEDC-93AF8D363F96}" destId="{EE366265-2C59-44AA-96A7-1FC0234F4E3A}" srcOrd="0" destOrd="0" presId="urn:microsoft.com/office/officeart/2005/8/layout/list1"/>
    <dgm:cxn modelId="{C41AEEF1-FEEB-4036-9E8C-1E97C30EB4E3}" type="presParOf" srcId="{EE366265-2C59-44AA-96A7-1FC0234F4E3A}" destId="{F56904D0-463C-4D78-907F-5CACFEBA5E3E}" srcOrd="0" destOrd="0" presId="urn:microsoft.com/office/officeart/2005/8/layout/list1"/>
    <dgm:cxn modelId="{61F5964F-680F-4AA1-AABF-DEF379107A7A}" type="presParOf" srcId="{F56904D0-463C-4D78-907F-5CACFEBA5E3E}" destId="{965A5B93-3421-46C7-8F26-C276339C97B8}" srcOrd="0" destOrd="0" presId="urn:microsoft.com/office/officeart/2005/8/layout/list1"/>
    <dgm:cxn modelId="{F00F88E1-E23B-4209-A0D4-DD9402B9C4BD}" type="presParOf" srcId="{F56904D0-463C-4D78-907F-5CACFEBA5E3E}" destId="{4BF9615A-9CFF-4E9A-AD3E-96B7E38500E3}" srcOrd="1" destOrd="0" presId="urn:microsoft.com/office/officeart/2005/8/layout/list1"/>
    <dgm:cxn modelId="{5A8B6E46-EBC8-42DE-9AC7-1D47AE5E41CF}" type="presParOf" srcId="{EE366265-2C59-44AA-96A7-1FC0234F4E3A}" destId="{3E876B2F-933B-4FEA-99BF-7D621B0FAD55}" srcOrd="1" destOrd="0" presId="urn:microsoft.com/office/officeart/2005/8/layout/list1"/>
    <dgm:cxn modelId="{6638BE79-62CB-42DD-AF1A-3AB9F87E1F0A}" type="presParOf" srcId="{EE366265-2C59-44AA-96A7-1FC0234F4E3A}" destId="{23EFD39C-7C00-4474-8F50-6B6A0F4C0F20}"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33E72B1-8B31-4AF7-84C3-C25566C96D05}"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802F4204-80C8-4670-8403-66B7AC080519}">
      <dgm:prSet custT="1"/>
      <dgm:spPr/>
      <dgm:t>
        <a:bodyPr/>
        <a:lstStyle/>
        <a:p>
          <a:r>
            <a:rPr lang="en-US" sz="1600" baseline="0" dirty="0"/>
            <a:t>Open Data Migration Assistant (DMA).</a:t>
          </a:r>
          <a:endParaRPr lang="en-US" sz="1600" dirty="0"/>
        </a:p>
      </dgm:t>
    </dgm:pt>
    <dgm:pt modelId="{0EB1B4C8-E82E-4192-A428-9744A07AF381}" type="parTrans" cxnId="{710849C2-1BDD-4807-8DE1-3DDF2BBB70A7}">
      <dgm:prSet/>
      <dgm:spPr/>
      <dgm:t>
        <a:bodyPr/>
        <a:lstStyle/>
        <a:p>
          <a:endParaRPr lang="en-US"/>
        </a:p>
      </dgm:t>
    </dgm:pt>
    <dgm:pt modelId="{A6CED5CE-8EB3-4D71-B525-5D262F615020}" type="sibTrans" cxnId="{710849C2-1BDD-4807-8DE1-3DDF2BBB70A7}">
      <dgm:prSet/>
      <dgm:spPr/>
      <dgm:t>
        <a:bodyPr/>
        <a:lstStyle/>
        <a:p>
          <a:endParaRPr lang="en-US"/>
        </a:p>
      </dgm:t>
    </dgm:pt>
    <dgm:pt modelId="{8930BD9E-1C47-4DF0-A425-B1EBF928D0AB}">
      <dgm:prSet custT="1"/>
      <dgm:spPr/>
      <dgm:t>
        <a:bodyPr/>
        <a:lstStyle/>
        <a:p>
          <a:r>
            <a:rPr lang="en-US" sz="1600" baseline="0"/>
            <a:t>Create a new Assessment Project with Azure SQL Database Target.</a:t>
          </a:r>
          <a:endParaRPr lang="en-US" sz="1600"/>
        </a:p>
      </dgm:t>
    </dgm:pt>
    <dgm:pt modelId="{813BA3A2-9515-452A-A513-43EF9786C858}" type="parTrans" cxnId="{ACBAE625-7868-451F-B1F6-4F61E3835126}">
      <dgm:prSet/>
      <dgm:spPr/>
      <dgm:t>
        <a:bodyPr/>
        <a:lstStyle/>
        <a:p>
          <a:endParaRPr lang="en-US"/>
        </a:p>
      </dgm:t>
    </dgm:pt>
    <dgm:pt modelId="{45F75F3E-34DC-41BF-B815-01ED0D3430D0}" type="sibTrans" cxnId="{ACBAE625-7868-451F-B1F6-4F61E3835126}">
      <dgm:prSet/>
      <dgm:spPr/>
      <dgm:t>
        <a:bodyPr/>
        <a:lstStyle/>
        <a:p>
          <a:endParaRPr lang="en-US"/>
        </a:p>
      </dgm:t>
    </dgm:pt>
    <dgm:pt modelId="{AC37B8DE-BB2D-455E-9F39-22D413326DFA}">
      <dgm:prSet custT="1"/>
      <dgm:spPr/>
      <dgm:t>
        <a:bodyPr/>
        <a:lstStyle/>
        <a:p>
          <a:r>
            <a:rPr lang="en-US" sz="1600" baseline="0"/>
            <a:t>Connect to local instance.</a:t>
          </a:r>
          <a:endParaRPr lang="en-US" sz="1600"/>
        </a:p>
      </dgm:t>
    </dgm:pt>
    <dgm:pt modelId="{D4A3E2C2-94C4-4CD3-B06D-D0495B5D0172}" type="parTrans" cxnId="{188769DA-B797-454C-A783-884D77E12026}">
      <dgm:prSet/>
      <dgm:spPr/>
      <dgm:t>
        <a:bodyPr/>
        <a:lstStyle/>
        <a:p>
          <a:endParaRPr lang="en-US"/>
        </a:p>
      </dgm:t>
    </dgm:pt>
    <dgm:pt modelId="{1D536489-AC9E-44F3-AAC3-D6A5ED3D2AC2}" type="sibTrans" cxnId="{188769DA-B797-454C-A783-884D77E12026}">
      <dgm:prSet/>
      <dgm:spPr/>
      <dgm:t>
        <a:bodyPr/>
        <a:lstStyle/>
        <a:p>
          <a:endParaRPr lang="en-US"/>
        </a:p>
      </dgm:t>
    </dgm:pt>
    <dgm:pt modelId="{9647E71A-E8EE-4D92-89F8-1EC1F66F1762}">
      <dgm:prSet custT="1"/>
      <dgm:spPr/>
      <dgm:t>
        <a:bodyPr/>
        <a:lstStyle/>
        <a:p>
          <a:r>
            <a:rPr lang="en-US" sz="1600" baseline="0"/>
            <a:t>Select the source database(s).</a:t>
          </a:r>
          <a:endParaRPr lang="en-US" sz="1600"/>
        </a:p>
      </dgm:t>
    </dgm:pt>
    <dgm:pt modelId="{9BDC0F77-2412-418E-B921-458EB608B449}" type="parTrans" cxnId="{A6071E13-5DB0-48C5-8636-909B621A7645}">
      <dgm:prSet/>
      <dgm:spPr/>
      <dgm:t>
        <a:bodyPr/>
        <a:lstStyle/>
        <a:p>
          <a:endParaRPr lang="en-US"/>
        </a:p>
      </dgm:t>
    </dgm:pt>
    <dgm:pt modelId="{14B32503-AE51-4EDF-8474-69A37DDE04E4}" type="sibTrans" cxnId="{A6071E13-5DB0-48C5-8636-909B621A7645}">
      <dgm:prSet/>
      <dgm:spPr/>
      <dgm:t>
        <a:bodyPr/>
        <a:lstStyle/>
        <a:p>
          <a:endParaRPr lang="en-US"/>
        </a:p>
      </dgm:t>
    </dgm:pt>
    <dgm:pt modelId="{3B362FCC-EA69-4024-8F98-30FE391D4109}">
      <dgm:prSet custT="1"/>
      <dgm:spPr/>
      <dgm:t>
        <a:bodyPr/>
        <a:lstStyle/>
        <a:p>
          <a:r>
            <a:rPr lang="en-US" sz="1600" baseline="0"/>
            <a:t>Verify Compatibility Report.</a:t>
          </a:r>
          <a:endParaRPr lang="en-US" sz="1600"/>
        </a:p>
      </dgm:t>
    </dgm:pt>
    <dgm:pt modelId="{536FAC0F-BD1E-48C2-816E-81574C15C57A}" type="parTrans" cxnId="{EC5F814E-81C7-4098-BF17-8AF6F827EEFE}">
      <dgm:prSet/>
      <dgm:spPr/>
      <dgm:t>
        <a:bodyPr/>
        <a:lstStyle/>
        <a:p>
          <a:endParaRPr lang="en-US"/>
        </a:p>
      </dgm:t>
    </dgm:pt>
    <dgm:pt modelId="{74FF28B3-BB25-48C8-A39B-81DBA12F3B47}" type="sibTrans" cxnId="{EC5F814E-81C7-4098-BF17-8AF6F827EEFE}">
      <dgm:prSet/>
      <dgm:spPr/>
      <dgm:t>
        <a:bodyPr/>
        <a:lstStyle/>
        <a:p>
          <a:endParaRPr lang="en-US"/>
        </a:p>
      </dgm:t>
    </dgm:pt>
    <dgm:pt modelId="{63286B4E-EF4D-4F42-9DAA-EF5D9AECDE86}" type="pres">
      <dgm:prSet presAssocID="{333E72B1-8B31-4AF7-84C3-C25566C96D05}" presName="linearFlow" presStyleCnt="0">
        <dgm:presLayoutVars>
          <dgm:resizeHandles val="exact"/>
        </dgm:presLayoutVars>
      </dgm:prSet>
      <dgm:spPr/>
    </dgm:pt>
    <dgm:pt modelId="{BC6B9F88-FAF6-43DA-B07B-703FCF951041}" type="pres">
      <dgm:prSet presAssocID="{802F4204-80C8-4670-8403-66B7AC080519}" presName="node" presStyleLbl="node1" presStyleIdx="0" presStyleCnt="5" custScaleX="146410" custScaleY="146410">
        <dgm:presLayoutVars>
          <dgm:bulletEnabled val="1"/>
        </dgm:presLayoutVars>
      </dgm:prSet>
      <dgm:spPr/>
    </dgm:pt>
    <dgm:pt modelId="{D80754B1-9CF4-4D89-9AA5-5DF67AA7BBE7}" type="pres">
      <dgm:prSet presAssocID="{A6CED5CE-8EB3-4D71-B525-5D262F615020}" presName="sibTrans" presStyleLbl="sibTrans2D1" presStyleIdx="0" presStyleCnt="4"/>
      <dgm:spPr/>
    </dgm:pt>
    <dgm:pt modelId="{B1AA1671-C418-40F1-97D4-AB24D3B411B1}" type="pres">
      <dgm:prSet presAssocID="{A6CED5CE-8EB3-4D71-B525-5D262F615020}" presName="connectorText" presStyleLbl="sibTrans2D1" presStyleIdx="0" presStyleCnt="4"/>
      <dgm:spPr/>
    </dgm:pt>
    <dgm:pt modelId="{1C113716-E5D2-4A98-BB55-5DFDC3452CCB}" type="pres">
      <dgm:prSet presAssocID="{8930BD9E-1C47-4DF0-A425-B1EBF928D0AB}" presName="node" presStyleLbl="node1" presStyleIdx="1" presStyleCnt="5" custScaleX="146410" custScaleY="146410">
        <dgm:presLayoutVars>
          <dgm:bulletEnabled val="1"/>
        </dgm:presLayoutVars>
      </dgm:prSet>
      <dgm:spPr/>
    </dgm:pt>
    <dgm:pt modelId="{D1D44A2E-726E-4423-BEA8-1352DAAB9B52}" type="pres">
      <dgm:prSet presAssocID="{45F75F3E-34DC-41BF-B815-01ED0D3430D0}" presName="sibTrans" presStyleLbl="sibTrans2D1" presStyleIdx="1" presStyleCnt="4"/>
      <dgm:spPr/>
    </dgm:pt>
    <dgm:pt modelId="{C903C57A-A4CB-4846-A2B4-4E4B23FF0569}" type="pres">
      <dgm:prSet presAssocID="{45F75F3E-34DC-41BF-B815-01ED0D3430D0}" presName="connectorText" presStyleLbl="sibTrans2D1" presStyleIdx="1" presStyleCnt="4"/>
      <dgm:spPr/>
    </dgm:pt>
    <dgm:pt modelId="{FB840EE5-68ED-4928-9866-5C2B47380D7C}" type="pres">
      <dgm:prSet presAssocID="{AC37B8DE-BB2D-455E-9F39-22D413326DFA}" presName="node" presStyleLbl="node1" presStyleIdx="2" presStyleCnt="5" custScaleX="146410" custScaleY="146410">
        <dgm:presLayoutVars>
          <dgm:bulletEnabled val="1"/>
        </dgm:presLayoutVars>
      </dgm:prSet>
      <dgm:spPr/>
    </dgm:pt>
    <dgm:pt modelId="{982CFDC5-92FE-4C64-921E-CC7314346722}" type="pres">
      <dgm:prSet presAssocID="{1D536489-AC9E-44F3-AAC3-D6A5ED3D2AC2}" presName="sibTrans" presStyleLbl="sibTrans2D1" presStyleIdx="2" presStyleCnt="4"/>
      <dgm:spPr/>
    </dgm:pt>
    <dgm:pt modelId="{4EA24AF1-8DB3-4F13-BAA4-4C30EF5C88BC}" type="pres">
      <dgm:prSet presAssocID="{1D536489-AC9E-44F3-AAC3-D6A5ED3D2AC2}" presName="connectorText" presStyleLbl="sibTrans2D1" presStyleIdx="2" presStyleCnt="4"/>
      <dgm:spPr/>
    </dgm:pt>
    <dgm:pt modelId="{0618027A-B3FA-4552-A16E-92BBC2915934}" type="pres">
      <dgm:prSet presAssocID="{9647E71A-E8EE-4D92-89F8-1EC1F66F1762}" presName="node" presStyleLbl="node1" presStyleIdx="3" presStyleCnt="5" custScaleX="146410" custScaleY="146410">
        <dgm:presLayoutVars>
          <dgm:bulletEnabled val="1"/>
        </dgm:presLayoutVars>
      </dgm:prSet>
      <dgm:spPr/>
    </dgm:pt>
    <dgm:pt modelId="{09CAE085-0AD0-4E9F-A3A1-073539319FBC}" type="pres">
      <dgm:prSet presAssocID="{14B32503-AE51-4EDF-8474-69A37DDE04E4}" presName="sibTrans" presStyleLbl="sibTrans2D1" presStyleIdx="3" presStyleCnt="4"/>
      <dgm:spPr/>
    </dgm:pt>
    <dgm:pt modelId="{55A9B6EE-F7E6-41C0-8676-E4839E78D893}" type="pres">
      <dgm:prSet presAssocID="{14B32503-AE51-4EDF-8474-69A37DDE04E4}" presName="connectorText" presStyleLbl="sibTrans2D1" presStyleIdx="3" presStyleCnt="4"/>
      <dgm:spPr/>
    </dgm:pt>
    <dgm:pt modelId="{2E0E6E5D-5867-48D4-9C6E-F19A943E0B61}" type="pres">
      <dgm:prSet presAssocID="{3B362FCC-EA69-4024-8F98-30FE391D4109}" presName="node" presStyleLbl="node1" presStyleIdx="4" presStyleCnt="5" custScaleX="146410" custScaleY="146410">
        <dgm:presLayoutVars>
          <dgm:bulletEnabled val="1"/>
        </dgm:presLayoutVars>
      </dgm:prSet>
      <dgm:spPr/>
    </dgm:pt>
  </dgm:ptLst>
  <dgm:cxnLst>
    <dgm:cxn modelId="{A6071E13-5DB0-48C5-8636-909B621A7645}" srcId="{333E72B1-8B31-4AF7-84C3-C25566C96D05}" destId="{9647E71A-E8EE-4D92-89F8-1EC1F66F1762}" srcOrd="3" destOrd="0" parTransId="{9BDC0F77-2412-418E-B921-458EB608B449}" sibTransId="{14B32503-AE51-4EDF-8474-69A37DDE04E4}"/>
    <dgm:cxn modelId="{ACBAE625-7868-451F-B1F6-4F61E3835126}" srcId="{333E72B1-8B31-4AF7-84C3-C25566C96D05}" destId="{8930BD9E-1C47-4DF0-A425-B1EBF928D0AB}" srcOrd="1" destOrd="0" parTransId="{813BA3A2-9515-452A-A513-43EF9786C858}" sibTransId="{45F75F3E-34DC-41BF-B815-01ED0D3430D0}"/>
    <dgm:cxn modelId="{65BD1F27-0DC0-4140-B58B-6F7F1D586A29}" type="presOf" srcId="{14B32503-AE51-4EDF-8474-69A37DDE04E4}" destId="{55A9B6EE-F7E6-41C0-8676-E4839E78D893}" srcOrd="1" destOrd="0" presId="urn:microsoft.com/office/officeart/2005/8/layout/process2"/>
    <dgm:cxn modelId="{E844702D-E942-49AB-A7E4-EEA894EE42CF}" type="presOf" srcId="{802F4204-80C8-4670-8403-66B7AC080519}" destId="{BC6B9F88-FAF6-43DA-B07B-703FCF951041}" srcOrd="0" destOrd="0" presId="urn:microsoft.com/office/officeart/2005/8/layout/process2"/>
    <dgm:cxn modelId="{8FEDF330-FC80-4904-975B-201133B9729B}" type="presOf" srcId="{333E72B1-8B31-4AF7-84C3-C25566C96D05}" destId="{63286B4E-EF4D-4F42-9DAA-EF5D9AECDE86}" srcOrd="0" destOrd="0" presId="urn:microsoft.com/office/officeart/2005/8/layout/process2"/>
    <dgm:cxn modelId="{05D4F233-5749-43F8-B0D8-DB93DCD1F863}" type="presOf" srcId="{3B362FCC-EA69-4024-8F98-30FE391D4109}" destId="{2E0E6E5D-5867-48D4-9C6E-F19A943E0B61}" srcOrd="0" destOrd="0" presId="urn:microsoft.com/office/officeart/2005/8/layout/process2"/>
    <dgm:cxn modelId="{0D77475E-04CE-498D-9185-0DD358C66E39}" type="presOf" srcId="{A6CED5CE-8EB3-4D71-B525-5D262F615020}" destId="{D80754B1-9CF4-4D89-9AA5-5DF67AA7BBE7}" srcOrd="0" destOrd="0" presId="urn:microsoft.com/office/officeart/2005/8/layout/process2"/>
    <dgm:cxn modelId="{9CDAB35E-2E2B-4D35-AFC9-B4DDF08C1C07}" type="presOf" srcId="{1D536489-AC9E-44F3-AAC3-D6A5ED3D2AC2}" destId="{982CFDC5-92FE-4C64-921E-CC7314346722}" srcOrd="0" destOrd="0" presId="urn:microsoft.com/office/officeart/2005/8/layout/process2"/>
    <dgm:cxn modelId="{B1B44A47-D748-4F32-B248-11B519412474}" type="presOf" srcId="{AC37B8DE-BB2D-455E-9F39-22D413326DFA}" destId="{FB840EE5-68ED-4928-9866-5C2B47380D7C}" srcOrd="0" destOrd="0" presId="urn:microsoft.com/office/officeart/2005/8/layout/process2"/>
    <dgm:cxn modelId="{EC5F814E-81C7-4098-BF17-8AF6F827EEFE}" srcId="{333E72B1-8B31-4AF7-84C3-C25566C96D05}" destId="{3B362FCC-EA69-4024-8F98-30FE391D4109}" srcOrd="4" destOrd="0" parTransId="{536FAC0F-BD1E-48C2-816E-81574C15C57A}" sibTransId="{74FF28B3-BB25-48C8-A39B-81DBA12F3B47}"/>
    <dgm:cxn modelId="{B64C4851-6AD9-4487-B4AB-5A9E26AA899F}" type="presOf" srcId="{45F75F3E-34DC-41BF-B815-01ED0D3430D0}" destId="{D1D44A2E-726E-4423-BEA8-1352DAAB9B52}" srcOrd="0" destOrd="0" presId="urn:microsoft.com/office/officeart/2005/8/layout/process2"/>
    <dgm:cxn modelId="{71FF458C-15F0-4477-AAE8-70445F184C8E}" type="presOf" srcId="{9647E71A-E8EE-4D92-89F8-1EC1F66F1762}" destId="{0618027A-B3FA-4552-A16E-92BBC2915934}" srcOrd="0" destOrd="0" presId="urn:microsoft.com/office/officeart/2005/8/layout/process2"/>
    <dgm:cxn modelId="{27FC2C9F-4436-48C8-AEC1-94F0CD235354}" type="presOf" srcId="{1D536489-AC9E-44F3-AAC3-D6A5ED3D2AC2}" destId="{4EA24AF1-8DB3-4F13-BAA4-4C30EF5C88BC}" srcOrd="1" destOrd="0" presId="urn:microsoft.com/office/officeart/2005/8/layout/process2"/>
    <dgm:cxn modelId="{9CA0F2B5-139D-4BEB-B6C1-C0B244E6BC43}" type="presOf" srcId="{8930BD9E-1C47-4DF0-A425-B1EBF928D0AB}" destId="{1C113716-E5D2-4A98-BB55-5DFDC3452CCB}" srcOrd="0" destOrd="0" presId="urn:microsoft.com/office/officeart/2005/8/layout/process2"/>
    <dgm:cxn modelId="{710849C2-1BDD-4807-8DE1-3DDF2BBB70A7}" srcId="{333E72B1-8B31-4AF7-84C3-C25566C96D05}" destId="{802F4204-80C8-4670-8403-66B7AC080519}" srcOrd="0" destOrd="0" parTransId="{0EB1B4C8-E82E-4192-A428-9744A07AF381}" sibTransId="{A6CED5CE-8EB3-4D71-B525-5D262F615020}"/>
    <dgm:cxn modelId="{188769DA-B797-454C-A783-884D77E12026}" srcId="{333E72B1-8B31-4AF7-84C3-C25566C96D05}" destId="{AC37B8DE-BB2D-455E-9F39-22D413326DFA}" srcOrd="2" destOrd="0" parTransId="{D4A3E2C2-94C4-4CD3-B06D-D0495B5D0172}" sibTransId="{1D536489-AC9E-44F3-AAC3-D6A5ED3D2AC2}"/>
    <dgm:cxn modelId="{66253DDE-571E-4900-8E4A-964A9BF4E6E0}" type="presOf" srcId="{A6CED5CE-8EB3-4D71-B525-5D262F615020}" destId="{B1AA1671-C418-40F1-97D4-AB24D3B411B1}" srcOrd="1" destOrd="0" presId="urn:microsoft.com/office/officeart/2005/8/layout/process2"/>
    <dgm:cxn modelId="{1F9AA1F1-F2C5-4F66-BCBA-48254677EECC}" type="presOf" srcId="{14B32503-AE51-4EDF-8474-69A37DDE04E4}" destId="{09CAE085-0AD0-4E9F-A3A1-073539319FBC}" srcOrd="0" destOrd="0" presId="urn:microsoft.com/office/officeart/2005/8/layout/process2"/>
    <dgm:cxn modelId="{AD9C9CF5-4477-43A0-8211-1C205435D023}" type="presOf" srcId="{45F75F3E-34DC-41BF-B815-01ED0D3430D0}" destId="{C903C57A-A4CB-4846-A2B4-4E4B23FF0569}" srcOrd="1" destOrd="0" presId="urn:microsoft.com/office/officeart/2005/8/layout/process2"/>
    <dgm:cxn modelId="{5EBCF7A2-B022-425D-8112-7B411DAB556F}" type="presParOf" srcId="{63286B4E-EF4D-4F42-9DAA-EF5D9AECDE86}" destId="{BC6B9F88-FAF6-43DA-B07B-703FCF951041}" srcOrd="0" destOrd="0" presId="urn:microsoft.com/office/officeart/2005/8/layout/process2"/>
    <dgm:cxn modelId="{C69A467E-5535-43CF-AB76-904D01592E17}" type="presParOf" srcId="{63286B4E-EF4D-4F42-9DAA-EF5D9AECDE86}" destId="{D80754B1-9CF4-4D89-9AA5-5DF67AA7BBE7}" srcOrd="1" destOrd="0" presId="urn:microsoft.com/office/officeart/2005/8/layout/process2"/>
    <dgm:cxn modelId="{E25BCE5F-102B-4104-ACE6-F1FFBAF87EF3}" type="presParOf" srcId="{D80754B1-9CF4-4D89-9AA5-5DF67AA7BBE7}" destId="{B1AA1671-C418-40F1-97D4-AB24D3B411B1}" srcOrd="0" destOrd="0" presId="urn:microsoft.com/office/officeart/2005/8/layout/process2"/>
    <dgm:cxn modelId="{F4408846-743D-49DF-9F85-F124A513D492}" type="presParOf" srcId="{63286B4E-EF4D-4F42-9DAA-EF5D9AECDE86}" destId="{1C113716-E5D2-4A98-BB55-5DFDC3452CCB}" srcOrd="2" destOrd="0" presId="urn:microsoft.com/office/officeart/2005/8/layout/process2"/>
    <dgm:cxn modelId="{7BBE67BA-2C9D-4A22-A323-A1B5B5CECAF4}" type="presParOf" srcId="{63286B4E-EF4D-4F42-9DAA-EF5D9AECDE86}" destId="{D1D44A2E-726E-4423-BEA8-1352DAAB9B52}" srcOrd="3" destOrd="0" presId="urn:microsoft.com/office/officeart/2005/8/layout/process2"/>
    <dgm:cxn modelId="{604B713C-1ABA-40FF-934E-91708C60839E}" type="presParOf" srcId="{D1D44A2E-726E-4423-BEA8-1352DAAB9B52}" destId="{C903C57A-A4CB-4846-A2B4-4E4B23FF0569}" srcOrd="0" destOrd="0" presId="urn:microsoft.com/office/officeart/2005/8/layout/process2"/>
    <dgm:cxn modelId="{1F45DC47-970E-4654-BB69-EF7322C139AE}" type="presParOf" srcId="{63286B4E-EF4D-4F42-9DAA-EF5D9AECDE86}" destId="{FB840EE5-68ED-4928-9866-5C2B47380D7C}" srcOrd="4" destOrd="0" presId="urn:microsoft.com/office/officeart/2005/8/layout/process2"/>
    <dgm:cxn modelId="{4F5BF587-0E04-4B3F-BB7E-97423D8C7E21}" type="presParOf" srcId="{63286B4E-EF4D-4F42-9DAA-EF5D9AECDE86}" destId="{982CFDC5-92FE-4C64-921E-CC7314346722}" srcOrd="5" destOrd="0" presId="urn:microsoft.com/office/officeart/2005/8/layout/process2"/>
    <dgm:cxn modelId="{A0EB5AC2-B913-4FA4-8317-85D6CD2E8DF4}" type="presParOf" srcId="{982CFDC5-92FE-4C64-921E-CC7314346722}" destId="{4EA24AF1-8DB3-4F13-BAA4-4C30EF5C88BC}" srcOrd="0" destOrd="0" presId="urn:microsoft.com/office/officeart/2005/8/layout/process2"/>
    <dgm:cxn modelId="{72F5CBE8-89FD-4CE7-BA1E-0505AAC3B71B}" type="presParOf" srcId="{63286B4E-EF4D-4F42-9DAA-EF5D9AECDE86}" destId="{0618027A-B3FA-4552-A16E-92BBC2915934}" srcOrd="6" destOrd="0" presId="urn:microsoft.com/office/officeart/2005/8/layout/process2"/>
    <dgm:cxn modelId="{CA039751-F9D7-4F10-AAA6-4C6E508EA83B}" type="presParOf" srcId="{63286B4E-EF4D-4F42-9DAA-EF5D9AECDE86}" destId="{09CAE085-0AD0-4E9F-A3A1-073539319FBC}" srcOrd="7" destOrd="0" presId="urn:microsoft.com/office/officeart/2005/8/layout/process2"/>
    <dgm:cxn modelId="{EF382D7A-27D8-4CD4-BC5D-3B4CDAB472C9}" type="presParOf" srcId="{09CAE085-0AD0-4E9F-A3A1-073539319FBC}" destId="{55A9B6EE-F7E6-41C0-8676-E4839E78D893}" srcOrd="0" destOrd="0" presId="urn:microsoft.com/office/officeart/2005/8/layout/process2"/>
    <dgm:cxn modelId="{A41AED2F-2362-4F5D-9D79-358178CED1BC}" type="presParOf" srcId="{63286B4E-EF4D-4F42-9DAA-EF5D9AECDE86}" destId="{2E0E6E5D-5867-48D4-9C6E-F19A943E0B61}"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986E654-CB7F-44DD-92F1-79E223252BFD}"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229D4A11-698B-4FAD-ACE1-977440032777}">
      <dgm:prSet/>
      <dgm:spPr/>
      <dgm:t>
        <a:bodyPr/>
        <a:lstStyle/>
        <a:p>
          <a:r>
            <a:rPr lang="en-US" baseline="0"/>
            <a:t>Sync to other databases.</a:t>
          </a:r>
          <a:endParaRPr lang="en-US"/>
        </a:p>
      </dgm:t>
    </dgm:pt>
    <dgm:pt modelId="{C8BC2DEC-4FEC-43EF-8C08-F924D6DEBFBD}" type="parTrans" cxnId="{6D250E7E-9F33-475F-825A-382537786E47}">
      <dgm:prSet/>
      <dgm:spPr/>
      <dgm:t>
        <a:bodyPr/>
        <a:lstStyle/>
        <a:p>
          <a:endParaRPr lang="en-US"/>
        </a:p>
      </dgm:t>
    </dgm:pt>
    <dgm:pt modelId="{4E0B0414-E40A-4B06-8307-EAFE960CC8F9}" type="sibTrans" cxnId="{6D250E7E-9F33-475F-825A-382537786E47}">
      <dgm:prSet/>
      <dgm:spPr/>
      <dgm:t>
        <a:bodyPr/>
        <a:lstStyle/>
        <a:p>
          <a:endParaRPr lang="en-US"/>
        </a:p>
      </dgm:t>
    </dgm:pt>
    <dgm:pt modelId="{EE642902-443D-404F-8987-C4985CEFDA6C}">
      <dgm:prSet/>
      <dgm:spPr/>
      <dgm:t>
        <a:bodyPr/>
        <a:lstStyle/>
        <a:p>
          <a:r>
            <a:rPr lang="en-US" baseline="0" dirty="0"/>
            <a:t>Create new Sync Group.</a:t>
          </a:r>
          <a:endParaRPr lang="en-US" dirty="0"/>
        </a:p>
      </dgm:t>
    </dgm:pt>
    <dgm:pt modelId="{763E0063-07F5-4D44-A49F-006378C9F764}" type="parTrans" cxnId="{769FEEC1-DB0F-44CF-8DEF-9DF19042B53B}">
      <dgm:prSet/>
      <dgm:spPr/>
      <dgm:t>
        <a:bodyPr/>
        <a:lstStyle/>
        <a:p>
          <a:endParaRPr lang="en-US"/>
        </a:p>
      </dgm:t>
    </dgm:pt>
    <dgm:pt modelId="{2DE9EFED-4076-4819-9B74-62E4A3C1F9A1}" type="sibTrans" cxnId="{769FEEC1-DB0F-44CF-8DEF-9DF19042B53B}">
      <dgm:prSet/>
      <dgm:spPr/>
      <dgm:t>
        <a:bodyPr/>
        <a:lstStyle/>
        <a:p>
          <a:endParaRPr lang="en-US"/>
        </a:p>
      </dgm:t>
    </dgm:pt>
    <dgm:pt modelId="{B9BD4DC3-9DA3-4CF1-99CB-9EC9C984BC3A}">
      <dgm:prSet/>
      <dgm:spPr/>
      <dgm:t>
        <a:bodyPr/>
        <a:lstStyle/>
        <a:p>
          <a:r>
            <a:rPr lang="en-US" baseline="0"/>
            <a:t>Specify Data Sync Group Name.</a:t>
          </a:r>
          <a:endParaRPr lang="en-US"/>
        </a:p>
      </dgm:t>
    </dgm:pt>
    <dgm:pt modelId="{82B21879-7B4E-4E9C-AC24-5CDDBEC7B1AF}" type="parTrans" cxnId="{282E7256-6C29-418C-8D03-21F69A458FB2}">
      <dgm:prSet/>
      <dgm:spPr/>
      <dgm:t>
        <a:bodyPr/>
        <a:lstStyle/>
        <a:p>
          <a:endParaRPr lang="en-US"/>
        </a:p>
      </dgm:t>
    </dgm:pt>
    <dgm:pt modelId="{1FD15C59-60A7-4D7C-831A-DB95084176A6}" type="sibTrans" cxnId="{282E7256-6C29-418C-8D03-21F69A458FB2}">
      <dgm:prSet/>
      <dgm:spPr/>
      <dgm:t>
        <a:bodyPr/>
        <a:lstStyle/>
        <a:p>
          <a:endParaRPr lang="en-US"/>
        </a:p>
      </dgm:t>
    </dgm:pt>
    <dgm:pt modelId="{57EF0CA6-99B1-4BB4-9E70-C0DB2698323C}">
      <dgm:prSet/>
      <dgm:spPr/>
      <dgm:t>
        <a:bodyPr/>
        <a:lstStyle/>
        <a:p>
          <a:r>
            <a:rPr lang="en-US" baseline="0"/>
            <a:t>Create New Sync Metadata DB.</a:t>
          </a:r>
          <a:endParaRPr lang="en-US"/>
        </a:p>
      </dgm:t>
    </dgm:pt>
    <dgm:pt modelId="{C974BFAB-D6E9-41CB-9A45-EBA7C154ACBC}" type="parTrans" cxnId="{B0D61C5D-58B3-4D6B-9ED2-AB8CE5B11B00}">
      <dgm:prSet/>
      <dgm:spPr/>
      <dgm:t>
        <a:bodyPr/>
        <a:lstStyle/>
        <a:p>
          <a:endParaRPr lang="en-US"/>
        </a:p>
      </dgm:t>
    </dgm:pt>
    <dgm:pt modelId="{29862F7D-FD98-4C23-9047-A62137D69633}" type="sibTrans" cxnId="{B0D61C5D-58B3-4D6B-9ED2-AB8CE5B11B00}">
      <dgm:prSet/>
      <dgm:spPr/>
      <dgm:t>
        <a:bodyPr/>
        <a:lstStyle/>
        <a:p>
          <a:endParaRPr lang="en-US"/>
        </a:p>
      </dgm:t>
    </dgm:pt>
    <dgm:pt modelId="{B314ABAD-40D5-4E1B-A430-3FBA75C855F4}">
      <dgm:prSet/>
      <dgm:spPr/>
      <dgm:t>
        <a:bodyPr/>
        <a:lstStyle/>
        <a:p>
          <a:r>
            <a:rPr lang="en-US" baseline="0"/>
            <a:t>Enable Automatic Sync &amp; Sync Frequency.</a:t>
          </a:r>
          <a:endParaRPr lang="en-US"/>
        </a:p>
      </dgm:t>
    </dgm:pt>
    <dgm:pt modelId="{17ECD587-0F33-4E5A-A60B-D03A8BE4B046}" type="parTrans" cxnId="{278CFFAE-E479-406C-A452-6B54C52BBB5E}">
      <dgm:prSet/>
      <dgm:spPr/>
      <dgm:t>
        <a:bodyPr/>
        <a:lstStyle/>
        <a:p>
          <a:endParaRPr lang="en-US"/>
        </a:p>
      </dgm:t>
    </dgm:pt>
    <dgm:pt modelId="{EB407C54-9535-4468-AA35-98684CFEB3EC}" type="sibTrans" cxnId="{278CFFAE-E479-406C-A452-6B54C52BBB5E}">
      <dgm:prSet/>
      <dgm:spPr/>
      <dgm:t>
        <a:bodyPr/>
        <a:lstStyle/>
        <a:p>
          <a:endParaRPr lang="en-US"/>
        </a:p>
      </dgm:t>
    </dgm:pt>
    <dgm:pt modelId="{949E45B1-D313-4B00-8C5D-99A72E4008A1}">
      <dgm:prSet/>
      <dgm:spPr/>
      <dgm:t>
        <a:bodyPr/>
        <a:lstStyle/>
        <a:p>
          <a:r>
            <a:rPr lang="en-US" baseline="0"/>
            <a:t>Select Conflict Resolution.</a:t>
          </a:r>
          <a:endParaRPr lang="en-US"/>
        </a:p>
      </dgm:t>
    </dgm:pt>
    <dgm:pt modelId="{4C244B0B-6762-4853-97D7-12793B32BB7F}" type="parTrans" cxnId="{4641BA6D-ACCC-4ED6-8B3E-7172736D855C}">
      <dgm:prSet/>
      <dgm:spPr/>
      <dgm:t>
        <a:bodyPr/>
        <a:lstStyle/>
        <a:p>
          <a:endParaRPr lang="en-US"/>
        </a:p>
      </dgm:t>
    </dgm:pt>
    <dgm:pt modelId="{72C5A68E-7CDD-44B2-AE86-618551286611}" type="sibTrans" cxnId="{4641BA6D-ACCC-4ED6-8B3E-7172736D855C}">
      <dgm:prSet/>
      <dgm:spPr/>
      <dgm:t>
        <a:bodyPr/>
        <a:lstStyle/>
        <a:p>
          <a:endParaRPr lang="en-US"/>
        </a:p>
      </dgm:t>
    </dgm:pt>
    <dgm:pt modelId="{AFFF414A-6CDA-4AE9-A162-33C7740DA99B}" type="pres">
      <dgm:prSet presAssocID="{6986E654-CB7F-44DD-92F1-79E223252BFD}" presName="linear" presStyleCnt="0">
        <dgm:presLayoutVars>
          <dgm:animLvl val="lvl"/>
          <dgm:resizeHandles val="exact"/>
        </dgm:presLayoutVars>
      </dgm:prSet>
      <dgm:spPr/>
    </dgm:pt>
    <dgm:pt modelId="{4ABB5002-6139-413C-A65A-0562D0346536}" type="pres">
      <dgm:prSet presAssocID="{229D4A11-698B-4FAD-ACE1-977440032777}" presName="parentText" presStyleLbl="node1" presStyleIdx="0" presStyleCnt="6">
        <dgm:presLayoutVars>
          <dgm:chMax val="0"/>
          <dgm:bulletEnabled val="1"/>
        </dgm:presLayoutVars>
      </dgm:prSet>
      <dgm:spPr/>
    </dgm:pt>
    <dgm:pt modelId="{C5F10E1D-6477-42D2-973E-D717B07AA6B6}" type="pres">
      <dgm:prSet presAssocID="{4E0B0414-E40A-4B06-8307-EAFE960CC8F9}" presName="spacer" presStyleCnt="0"/>
      <dgm:spPr/>
    </dgm:pt>
    <dgm:pt modelId="{0452EC8B-B423-4912-B67D-E9B1FF4CF88D}" type="pres">
      <dgm:prSet presAssocID="{EE642902-443D-404F-8987-C4985CEFDA6C}" presName="parentText" presStyleLbl="node1" presStyleIdx="1" presStyleCnt="6">
        <dgm:presLayoutVars>
          <dgm:chMax val="0"/>
          <dgm:bulletEnabled val="1"/>
        </dgm:presLayoutVars>
      </dgm:prSet>
      <dgm:spPr/>
    </dgm:pt>
    <dgm:pt modelId="{AE0755B4-785E-4BCC-8EE4-72BBC645DB1B}" type="pres">
      <dgm:prSet presAssocID="{2DE9EFED-4076-4819-9B74-62E4A3C1F9A1}" presName="spacer" presStyleCnt="0"/>
      <dgm:spPr/>
    </dgm:pt>
    <dgm:pt modelId="{7FF97CFF-E09C-4C15-B58A-4B7EC7B7CE97}" type="pres">
      <dgm:prSet presAssocID="{B9BD4DC3-9DA3-4CF1-99CB-9EC9C984BC3A}" presName="parentText" presStyleLbl="node1" presStyleIdx="2" presStyleCnt="6">
        <dgm:presLayoutVars>
          <dgm:chMax val="0"/>
          <dgm:bulletEnabled val="1"/>
        </dgm:presLayoutVars>
      </dgm:prSet>
      <dgm:spPr/>
    </dgm:pt>
    <dgm:pt modelId="{56A743D2-BE11-4520-8382-93A053382ED3}" type="pres">
      <dgm:prSet presAssocID="{1FD15C59-60A7-4D7C-831A-DB95084176A6}" presName="spacer" presStyleCnt="0"/>
      <dgm:spPr/>
    </dgm:pt>
    <dgm:pt modelId="{1A39EFB9-52A8-4224-BF0A-CF2D0C567F21}" type="pres">
      <dgm:prSet presAssocID="{57EF0CA6-99B1-4BB4-9E70-C0DB2698323C}" presName="parentText" presStyleLbl="node1" presStyleIdx="3" presStyleCnt="6">
        <dgm:presLayoutVars>
          <dgm:chMax val="0"/>
          <dgm:bulletEnabled val="1"/>
        </dgm:presLayoutVars>
      </dgm:prSet>
      <dgm:spPr/>
    </dgm:pt>
    <dgm:pt modelId="{4547F202-1901-4A06-B8C6-9DB018660AC1}" type="pres">
      <dgm:prSet presAssocID="{29862F7D-FD98-4C23-9047-A62137D69633}" presName="spacer" presStyleCnt="0"/>
      <dgm:spPr/>
    </dgm:pt>
    <dgm:pt modelId="{B8E95EC4-2E39-45A4-8803-F934EF499E23}" type="pres">
      <dgm:prSet presAssocID="{B314ABAD-40D5-4E1B-A430-3FBA75C855F4}" presName="parentText" presStyleLbl="node1" presStyleIdx="4" presStyleCnt="6">
        <dgm:presLayoutVars>
          <dgm:chMax val="0"/>
          <dgm:bulletEnabled val="1"/>
        </dgm:presLayoutVars>
      </dgm:prSet>
      <dgm:spPr/>
    </dgm:pt>
    <dgm:pt modelId="{1F2523ED-8176-4EED-B3AD-49B5B9AD03B4}" type="pres">
      <dgm:prSet presAssocID="{EB407C54-9535-4468-AA35-98684CFEB3EC}" presName="spacer" presStyleCnt="0"/>
      <dgm:spPr/>
    </dgm:pt>
    <dgm:pt modelId="{67DBCD27-2FAA-41D9-ABE0-35A9ED854A8A}" type="pres">
      <dgm:prSet presAssocID="{949E45B1-D313-4B00-8C5D-99A72E4008A1}" presName="parentText" presStyleLbl="node1" presStyleIdx="5" presStyleCnt="6">
        <dgm:presLayoutVars>
          <dgm:chMax val="0"/>
          <dgm:bulletEnabled val="1"/>
        </dgm:presLayoutVars>
      </dgm:prSet>
      <dgm:spPr/>
    </dgm:pt>
  </dgm:ptLst>
  <dgm:cxnLst>
    <dgm:cxn modelId="{9EB4BE04-69B7-4E47-9D2B-80A212AB6458}" type="presOf" srcId="{B9BD4DC3-9DA3-4CF1-99CB-9EC9C984BC3A}" destId="{7FF97CFF-E09C-4C15-B58A-4B7EC7B7CE97}" srcOrd="0" destOrd="0" presId="urn:microsoft.com/office/officeart/2005/8/layout/vList2"/>
    <dgm:cxn modelId="{3E059128-F821-4E68-B913-D79561FA2E9E}" type="presOf" srcId="{57EF0CA6-99B1-4BB4-9E70-C0DB2698323C}" destId="{1A39EFB9-52A8-4224-BF0A-CF2D0C567F21}" srcOrd="0" destOrd="0" presId="urn:microsoft.com/office/officeart/2005/8/layout/vList2"/>
    <dgm:cxn modelId="{B0D61C5D-58B3-4D6B-9ED2-AB8CE5B11B00}" srcId="{6986E654-CB7F-44DD-92F1-79E223252BFD}" destId="{57EF0CA6-99B1-4BB4-9E70-C0DB2698323C}" srcOrd="3" destOrd="0" parTransId="{C974BFAB-D6E9-41CB-9A45-EBA7C154ACBC}" sibTransId="{29862F7D-FD98-4C23-9047-A62137D69633}"/>
    <dgm:cxn modelId="{E057AB61-17DD-4C00-BBE8-BF51EE43D56B}" type="presOf" srcId="{949E45B1-D313-4B00-8C5D-99A72E4008A1}" destId="{67DBCD27-2FAA-41D9-ABE0-35A9ED854A8A}" srcOrd="0" destOrd="0" presId="urn:microsoft.com/office/officeart/2005/8/layout/vList2"/>
    <dgm:cxn modelId="{4641BA6D-ACCC-4ED6-8B3E-7172736D855C}" srcId="{6986E654-CB7F-44DD-92F1-79E223252BFD}" destId="{949E45B1-D313-4B00-8C5D-99A72E4008A1}" srcOrd="5" destOrd="0" parTransId="{4C244B0B-6762-4853-97D7-12793B32BB7F}" sibTransId="{72C5A68E-7CDD-44B2-AE86-618551286611}"/>
    <dgm:cxn modelId="{15010051-B626-4605-B0F9-A18119BFE4B6}" type="presOf" srcId="{EE642902-443D-404F-8987-C4985CEFDA6C}" destId="{0452EC8B-B423-4912-B67D-E9B1FF4CF88D}" srcOrd="0" destOrd="0" presId="urn:microsoft.com/office/officeart/2005/8/layout/vList2"/>
    <dgm:cxn modelId="{282E7256-6C29-418C-8D03-21F69A458FB2}" srcId="{6986E654-CB7F-44DD-92F1-79E223252BFD}" destId="{B9BD4DC3-9DA3-4CF1-99CB-9EC9C984BC3A}" srcOrd="2" destOrd="0" parTransId="{82B21879-7B4E-4E9C-AC24-5CDDBEC7B1AF}" sibTransId="{1FD15C59-60A7-4D7C-831A-DB95084176A6}"/>
    <dgm:cxn modelId="{6D250E7E-9F33-475F-825A-382537786E47}" srcId="{6986E654-CB7F-44DD-92F1-79E223252BFD}" destId="{229D4A11-698B-4FAD-ACE1-977440032777}" srcOrd="0" destOrd="0" parTransId="{C8BC2DEC-4FEC-43EF-8C08-F924D6DEBFBD}" sibTransId="{4E0B0414-E40A-4B06-8307-EAFE960CC8F9}"/>
    <dgm:cxn modelId="{E8A11695-1C15-4736-AEE3-7A1584F3AE4F}" type="presOf" srcId="{229D4A11-698B-4FAD-ACE1-977440032777}" destId="{4ABB5002-6139-413C-A65A-0562D0346536}" srcOrd="0" destOrd="0" presId="urn:microsoft.com/office/officeart/2005/8/layout/vList2"/>
    <dgm:cxn modelId="{278CFFAE-E479-406C-A452-6B54C52BBB5E}" srcId="{6986E654-CB7F-44DD-92F1-79E223252BFD}" destId="{B314ABAD-40D5-4E1B-A430-3FBA75C855F4}" srcOrd="4" destOrd="0" parTransId="{17ECD587-0F33-4E5A-A60B-D03A8BE4B046}" sibTransId="{EB407C54-9535-4468-AA35-98684CFEB3EC}"/>
    <dgm:cxn modelId="{69631FBE-B35B-4333-A431-D37E1AA28A0E}" type="presOf" srcId="{6986E654-CB7F-44DD-92F1-79E223252BFD}" destId="{AFFF414A-6CDA-4AE9-A162-33C7740DA99B}" srcOrd="0" destOrd="0" presId="urn:microsoft.com/office/officeart/2005/8/layout/vList2"/>
    <dgm:cxn modelId="{769FEEC1-DB0F-44CF-8DEF-9DF19042B53B}" srcId="{6986E654-CB7F-44DD-92F1-79E223252BFD}" destId="{EE642902-443D-404F-8987-C4985CEFDA6C}" srcOrd="1" destOrd="0" parTransId="{763E0063-07F5-4D44-A49F-006378C9F764}" sibTransId="{2DE9EFED-4076-4819-9B74-62E4A3C1F9A1}"/>
    <dgm:cxn modelId="{B6C3C7EB-3565-47F7-A52E-AEAFCC7FFB99}" type="presOf" srcId="{B314ABAD-40D5-4E1B-A430-3FBA75C855F4}" destId="{B8E95EC4-2E39-45A4-8803-F934EF499E23}" srcOrd="0" destOrd="0" presId="urn:microsoft.com/office/officeart/2005/8/layout/vList2"/>
    <dgm:cxn modelId="{E4424066-0B75-4EB6-81B1-4D04EAD84946}" type="presParOf" srcId="{AFFF414A-6CDA-4AE9-A162-33C7740DA99B}" destId="{4ABB5002-6139-413C-A65A-0562D0346536}" srcOrd="0" destOrd="0" presId="urn:microsoft.com/office/officeart/2005/8/layout/vList2"/>
    <dgm:cxn modelId="{A77D3598-7F0B-495B-B9BA-0AF99C449364}" type="presParOf" srcId="{AFFF414A-6CDA-4AE9-A162-33C7740DA99B}" destId="{C5F10E1D-6477-42D2-973E-D717B07AA6B6}" srcOrd="1" destOrd="0" presId="urn:microsoft.com/office/officeart/2005/8/layout/vList2"/>
    <dgm:cxn modelId="{ABAAC4F0-8BCC-4012-8CE0-1462FD1B47F2}" type="presParOf" srcId="{AFFF414A-6CDA-4AE9-A162-33C7740DA99B}" destId="{0452EC8B-B423-4912-B67D-E9B1FF4CF88D}" srcOrd="2" destOrd="0" presId="urn:microsoft.com/office/officeart/2005/8/layout/vList2"/>
    <dgm:cxn modelId="{8490DEC5-2DB0-46CC-8B00-704309FE7989}" type="presParOf" srcId="{AFFF414A-6CDA-4AE9-A162-33C7740DA99B}" destId="{AE0755B4-785E-4BCC-8EE4-72BBC645DB1B}" srcOrd="3" destOrd="0" presId="urn:microsoft.com/office/officeart/2005/8/layout/vList2"/>
    <dgm:cxn modelId="{A93B78B4-9643-4A56-A058-411964BC6F1E}" type="presParOf" srcId="{AFFF414A-6CDA-4AE9-A162-33C7740DA99B}" destId="{7FF97CFF-E09C-4C15-B58A-4B7EC7B7CE97}" srcOrd="4" destOrd="0" presId="urn:microsoft.com/office/officeart/2005/8/layout/vList2"/>
    <dgm:cxn modelId="{D3378728-236E-406E-8C0C-3D3558124741}" type="presParOf" srcId="{AFFF414A-6CDA-4AE9-A162-33C7740DA99B}" destId="{56A743D2-BE11-4520-8382-93A053382ED3}" srcOrd="5" destOrd="0" presId="urn:microsoft.com/office/officeart/2005/8/layout/vList2"/>
    <dgm:cxn modelId="{A547E2D6-75D9-40BB-8EC3-45C6BEC075F0}" type="presParOf" srcId="{AFFF414A-6CDA-4AE9-A162-33C7740DA99B}" destId="{1A39EFB9-52A8-4224-BF0A-CF2D0C567F21}" srcOrd="6" destOrd="0" presId="urn:microsoft.com/office/officeart/2005/8/layout/vList2"/>
    <dgm:cxn modelId="{FB7C61CC-B8CA-4FB7-82A8-297E91834762}" type="presParOf" srcId="{AFFF414A-6CDA-4AE9-A162-33C7740DA99B}" destId="{4547F202-1901-4A06-B8C6-9DB018660AC1}" srcOrd="7" destOrd="0" presId="urn:microsoft.com/office/officeart/2005/8/layout/vList2"/>
    <dgm:cxn modelId="{2AA23946-8625-4426-9C34-43CB86149829}" type="presParOf" srcId="{AFFF414A-6CDA-4AE9-A162-33C7740DA99B}" destId="{B8E95EC4-2E39-45A4-8803-F934EF499E23}" srcOrd="8" destOrd="0" presId="urn:microsoft.com/office/officeart/2005/8/layout/vList2"/>
    <dgm:cxn modelId="{A6B513EE-CFF6-4831-8C27-3EDB0E5712B8}" type="presParOf" srcId="{AFFF414A-6CDA-4AE9-A162-33C7740DA99B}" destId="{1F2523ED-8176-4EED-B3AD-49B5B9AD03B4}" srcOrd="9" destOrd="0" presId="urn:microsoft.com/office/officeart/2005/8/layout/vList2"/>
    <dgm:cxn modelId="{8E07F610-F825-4F5C-876D-B8C53CCAB865}" type="presParOf" srcId="{AFFF414A-6CDA-4AE9-A162-33C7740DA99B}" destId="{67DBCD27-2FAA-41D9-ABE0-35A9ED854A8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8C04E82-B92D-4CB9-B617-D99B3A24D16E}"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CE713011-BD51-426C-B28A-0715EC614456}">
      <dgm:prSet/>
      <dgm:spPr/>
      <dgm:t>
        <a:bodyPr/>
        <a:lstStyle/>
        <a:p>
          <a:r>
            <a:rPr lang="en-US" baseline="0" dirty="0"/>
            <a:t>Enter the existing credentials. </a:t>
          </a:r>
          <a:endParaRPr lang="en-US" dirty="0"/>
        </a:p>
      </dgm:t>
    </dgm:pt>
    <dgm:pt modelId="{BCF60E75-3671-4209-B35E-6F7EF523FB0C}" type="parTrans" cxnId="{8B040E6D-0918-4CF9-9973-F138063E1DAE}">
      <dgm:prSet/>
      <dgm:spPr/>
      <dgm:t>
        <a:bodyPr/>
        <a:lstStyle/>
        <a:p>
          <a:endParaRPr lang="en-US"/>
        </a:p>
      </dgm:t>
    </dgm:pt>
    <dgm:pt modelId="{EE98C3FB-F035-462C-ABB3-1B143FA792C7}" type="sibTrans" cxnId="{8B040E6D-0918-4CF9-9973-F138063E1DAE}">
      <dgm:prSet/>
      <dgm:spPr/>
      <dgm:t>
        <a:bodyPr/>
        <a:lstStyle/>
        <a:p>
          <a:endParaRPr lang="en-US"/>
        </a:p>
      </dgm:t>
    </dgm:pt>
    <dgm:pt modelId="{0B6B84BA-ED2A-4EEA-A51E-EF2C9A72950C}">
      <dgm:prSet/>
      <dgm:spPr/>
      <dgm:t>
        <a:bodyPr/>
        <a:lstStyle/>
        <a:p>
          <a:r>
            <a:rPr lang="en-US" baseline="0"/>
            <a:t>Specify the name for the new sync member.</a:t>
          </a:r>
          <a:endParaRPr lang="en-US"/>
        </a:p>
      </dgm:t>
    </dgm:pt>
    <dgm:pt modelId="{484916AA-E2BE-4C6F-AB37-0839AE7C869E}" type="parTrans" cxnId="{87B9A0B7-691C-41B7-8C9C-15F24C03495B}">
      <dgm:prSet/>
      <dgm:spPr/>
      <dgm:t>
        <a:bodyPr/>
        <a:lstStyle/>
        <a:p>
          <a:endParaRPr lang="en-US"/>
        </a:p>
      </dgm:t>
    </dgm:pt>
    <dgm:pt modelId="{DD173F4E-2649-4170-BFD3-BDEF24B903FE}" type="sibTrans" cxnId="{87B9A0B7-691C-41B7-8C9C-15F24C03495B}">
      <dgm:prSet/>
      <dgm:spPr/>
      <dgm:t>
        <a:bodyPr/>
        <a:lstStyle/>
        <a:p>
          <a:endParaRPr lang="en-US"/>
        </a:p>
      </dgm:t>
    </dgm:pt>
    <dgm:pt modelId="{C5C580D2-4905-45D3-BDF4-1DAAD0F8D8E3}">
      <dgm:prSet/>
      <dgm:spPr/>
      <dgm:t>
        <a:bodyPr/>
        <a:lstStyle/>
        <a:p>
          <a:r>
            <a:rPr lang="en-US" baseline="0"/>
            <a:t>Select the Subscription.</a:t>
          </a:r>
          <a:endParaRPr lang="en-US"/>
        </a:p>
      </dgm:t>
    </dgm:pt>
    <dgm:pt modelId="{FBE3FD00-2FCB-403A-953D-8C203C05F3EF}" type="parTrans" cxnId="{2B2847F5-52AA-42D5-BFC7-F21E622575B5}">
      <dgm:prSet/>
      <dgm:spPr/>
      <dgm:t>
        <a:bodyPr/>
        <a:lstStyle/>
        <a:p>
          <a:endParaRPr lang="en-US"/>
        </a:p>
      </dgm:t>
    </dgm:pt>
    <dgm:pt modelId="{AA565C76-209C-4DDF-AA9F-9A08D5331CF3}" type="sibTrans" cxnId="{2B2847F5-52AA-42D5-BFC7-F21E622575B5}">
      <dgm:prSet/>
      <dgm:spPr/>
      <dgm:t>
        <a:bodyPr/>
        <a:lstStyle/>
        <a:p>
          <a:endParaRPr lang="en-US"/>
        </a:p>
      </dgm:t>
    </dgm:pt>
    <dgm:pt modelId="{5F69C1EC-A790-4118-B822-3A64074C0C02}">
      <dgm:prSet/>
      <dgm:spPr/>
      <dgm:t>
        <a:bodyPr/>
        <a:lstStyle/>
        <a:p>
          <a:r>
            <a:rPr lang="en-US" baseline="0"/>
            <a:t>Select the existing SQL database server.</a:t>
          </a:r>
          <a:endParaRPr lang="en-US"/>
        </a:p>
      </dgm:t>
    </dgm:pt>
    <dgm:pt modelId="{9AB6ADB4-691C-4DEC-A967-0C8D0FE4B07C}" type="parTrans" cxnId="{E713EEDF-3B14-4C96-8E1A-A29D1AEADEF8}">
      <dgm:prSet/>
      <dgm:spPr/>
      <dgm:t>
        <a:bodyPr/>
        <a:lstStyle/>
        <a:p>
          <a:endParaRPr lang="en-US"/>
        </a:p>
      </dgm:t>
    </dgm:pt>
    <dgm:pt modelId="{A6A540B7-E564-4F60-A4E6-CBF7C34BDC7B}" type="sibTrans" cxnId="{E713EEDF-3B14-4C96-8E1A-A29D1AEADEF8}">
      <dgm:prSet/>
      <dgm:spPr/>
      <dgm:t>
        <a:bodyPr/>
        <a:lstStyle/>
        <a:p>
          <a:endParaRPr lang="en-US"/>
        </a:p>
      </dgm:t>
    </dgm:pt>
    <dgm:pt modelId="{27D14323-FEC8-4AD1-A878-9D7079220C6F}">
      <dgm:prSet/>
      <dgm:spPr/>
      <dgm:t>
        <a:bodyPr/>
        <a:lstStyle/>
        <a:p>
          <a:r>
            <a:rPr lang="en-US" baseline="0"/>
            <a:t>Select the existing SQL database.</a:t>
          </a:r>
          <a:endParaRPr lang="en-US"/>
        </a:p>
      </dgm:t>
    </dgm:pt>
    <dgm:pt modelId="{3EE5E295-76C7-4725-804E-5D0525F213D0}" type="parTrans" cxnId="{AF405ADC-3817-4B31-8BC7-A923745CD704}">
      <dgm:prSet/>
      <dgm:spPr/>
      <dgm:t>
        <a:bodyPr/>
        <a:lstStyle/>
        <a:p>
          <a:endParaRPr lang="en-US"/>
        </a:p>
      </dgm:t>
    </dgm:pt>
    <dgm:pt modelId="{F1E93C9B-140A-46EA-8F5F-F88ACF591B67}" type="sibTrans" cxnId="{AF405ADC-3817-4B31-8BC7-A923745CD704}">
      <dgm:prSet/>
      <dgm:spPr/>
      <dgm:t>
        <a:bodyPr/>
        <a:lstStyle/>
        <a:p>
          <a:endParaRPr lang="en-US"/>
        </a:p>
      </dgm:t>
    </dgm:pt>
    <dgm:pt modelId="{FBDFA852-321C-4BD7-A1D6-75F2DE08D027}">
      <dgm:prSet/>
      <dgm:spPr/>
      <dgm:t>
        <a:bodyPr/>
        <a:lstStyle/>
        <a:p>
          <a:r>
            <a:rPr lang="en-US" baseline="0"/>
            <a:t>Specify the Sync Directions.</a:t>
          </a:r>
          <a:endParaRPr lang="en-US"/>
        </a:p>
      </dgm:t>
    </dgm:pt>
    <dgm:pt modelId="{D8AD2600-DD27-474B-BA2E-24C3A554410F}" type="parTrans" cxnId="{597C11FF-29E5-444A-8010-33494B1A9E4A}">
      <dgm:prSet/>
      <dgm:spPr/>
      <dgm:t>
        <a:bodyPr/>
        <a:lstStyle/>
        <a:p>
          <a:endParaRPr lang="en-US"/>
        </a:p>
      </dgm:t>
    </dgm:pt>
    <dgm:pt modelId="{B5919078-A174-4347-AE78-E825BDC5F922}" type="sibTrans" cxnId="{597C11FF-29E5-444A-8010-33494B1A9E4A}">
      <dgm:prSet/>
      <dgm:spPr/>
      <dgm:t>
        <a:bodyPr/>
        <a:lstStyle/>
        <a:p>
          <a:endParaRPr lang="en-US"/>
        </a:p>
      </dgm:t>
    </dgm:pt>
    <dgm:pt modelId="{ADD53ADB-A4C8-45DE-8A76-C077A11EF866}" type="pres">
      <dgm:prSet presAssocID="{C8C04E82-B92D-4CB9-B617-D99B3A24D16E}" presName="linear" presStyleCnt="0">
        <dgm:presLayoutVars>
          <dgm:animLvl val="lvl"/>
          <dgm:resizeHandles val="exact"/>
        </dgm:presLayoutVars>
      </dgm:prSet>
      <dgm:spPr/>
    </dgm:pt>
    <dgm:pt modelId="{53776B76-1B71-49D2-93DF-AB36F7681FAA}" type="pres">
      <dgm:prSet presAssocID="{CE713011-BD51-426C-B28A-0715EC614456}" presName="parentText" presStyleLbl="node1" presStyleIdx="0" presStyleCnt="6">
        <dgm:presLayoutVars>
          <dgm:chMax val="0"/>
          <dgm:bulletEnabled val="1"/>
        </dgm:presLayoutVars>
      </dgm:prSet>
      <dgm:spPr/>
    </dgm:pt>
    <dgm:pt modelId="{4D60B001-DA75-483B-B362-8BCF58DBCBF4}" type="pres">
      <dgm:prSet presAssocID="{EE98C3FB-F035-462C-ABB3-1B143FA792C7}" presName="spacer" presStyleCnt="0"/>
      <dgm:spPr/>
    </dgm:pt>
    <dgm:pt modelId="{0AAC9DE6-4858-41E1-B8A5-EF02752B5EED}" type="pres">
      <dgm:prSet presAssocID="{0B6B84BA-ED2A-4EEA-A51E-EF2C9A72950C}" presName="parentText" presStyleLbl="node1" presStyleIdx="1" presStyleCnt="6">
        <dgm:presLayoutVars>
          <dgm:chMax val="0"/>
          <dgm:bulletEnabled val="1"/>
        </dgm:presLayoutVars>
      </dgm:prSet>
      <dgm:spPr/>
    </dgm:pt>
    <dgm:pt modelId="{A4E33CB6-90C2-4467-B778-0D1BBF5553A9}" type="pres">
      <dgm:prSet presAssocID="{DD173F4E-2649-4170-BFD3-BDEF24B903FE}" presName="spacer" presStyleCnt="0"/>
      <dgm:spPr/>
    </dgm:pt>
    <dgm:pt modelId="{CF6B6E1B-2A4F-4B51-BFC7-F9CCB87E30AE}" type="pres">
      <dgm:prSet presAssocID="{C5C580D2-4905-45D3-BDF4-1DAAD0F8D8E3}" presName="parentText" presStyleLbl="node1" presStyleIdx="2" presStyleCnt="6">
        <dgm:presLayoutVars>
          <dgm:chMax val="0"/>
          <dgm:bulletEnabled val="1"/>
        </dgm:presLayoutVars>
      </dgm:prSet>
      <dgm:spPr/>
    </dgm:pt>
    <dgm:pt modelId="{17910643-966A-469A-B1F1-CEABC62ED1F7}" type="pres">
      <dgm:prSet presAssocID="{AA565C76-209C-4DDF-AA9F-9A08D5331CF3}" presName="spacer" presStyleCnt="0"/>
      <dgm:spPr/>
    </dgm:pt>
    <dgm:pt modelId="{15F90CE9-07BD-429A-AF1A-CC217EC44D70}" type="pres">
      <dgm:prSet presAssocID="{5F69C1EC-A790-4118-B822-3A64074C0C02}" presName="parentText" presStyleLbl="node1" presStyleIdx="3" presStyleCnt="6">
        <dgm:presLayoutVars>
          <dgm:chMax val="0"/>
          <dgm:bulletEnabled val="1"/>
        </dgm:presLayoutVars>
      </dgm:prSet>
      <dgm:spPr/>
    </dgm:pt>
    <dgm:pt modelId="{3CA1D9CA-D878-49A8-A427-BCC96CA70091}" type="pres">
      <dgm:prSet presAssocID="{A6A540B7-E564-4F60-A4E6-CBF7C34BDC7B}" presName="spacer" presStyleCnt="0"/>
      <dgm:spPr/>
    </dgm:pt>
    <dgm:pt modelId="{BB7B1D7A-C4E5-4DED-845A-51DED6E0A20B}" type="pres">
      <dgm:prSet presAssocID="{27D14323-FEC8-4AD1-A878-9D7079220C6F}" presName="parentText" presStyleLbl="node1" presStyleIdx="4" presStyleCnt="6">
        <dgm:presLayoutVars>
          <dgm:chMax val="0"/>
          <dgm:bulletEnabled val="1"/>
        </dgm:presLayoutVars>
      </dgm:prSet>
      <dgm:spPr/>
    </dgm:pt>
    <dgm:pt modelId="{C000648A-D6A0-4010-A245-3D31193DC461}" type="pres">
      <dgm:prSet presAssocID="{F1E93C9B-140A-46EA-8F5F-F88ACF591B67}" presName="spacer" presStyleCnt="0"/>
      <dgm:spPr/>
    </dgm:pt>
    <dgm:pt modelId="{7503DCC2-4CCE-458A-A775-77525FEE6BDF}" type="pres">
      <dgm:prSet presAssocID="{FBDFA852-321C-4BD7-A1D6-75F2DE08D027}" presName="parentText" presStyleLbl="node1" presStyleIdx="5" presStyleCnt="6">
        <dgm:presLayoutVars>
          <dgm:chMax val="0"/>
          <dgm:bulletEnabled val="1"/>
        </dgm:presLayoutVars>
      </dgm:prSet>
      <dgm:spPr/>
    </dgm:pt>
  </dgm:ptLst>
  <dgm:cxnLst>
    <dgm:cxn modelId="{5722C316-2428-4ECF-8E96-39B3DD7598F8}" type="presOf" srcId="{0B6B84BA-ED2A-4EEA-A51E-EF2C9A72950C}" destId="{0AAC9DE6-4858-41E1-B8A5-EF02752B5EED}" srcOrd="0" destOrd="0" presId="urn:microsoft.com/office/officeart/2005/8/layout/vList2"/>
    <dgm:cxn modelId="{35603621-0352-4401-8BE0-CAD38DAAC915}" type="presOf" srcId="{C8C04E82-B92D-4CB9-B617-D99B3A24D16E}" destId="{ADD53ADB-A4C8-45DE-8A76-C077A11EF866}" srcOrd="0" destOrd="0" presId="urn:microsoft.com/office/officeart/2005/8/layout/vList2"/>
    <dgm:cxn modelId="{A422B629-36D1-45F3-B163-AC87197C7BB4}" type="presOf" srcId="{5F69C1EC-A790-4118-B822-3A64074C0C02}" destId="{15F90CE9-07BD-429A-AF1A-CC217EC44D70}" srcOrd="0" destOrd="0" presId="urn:microsoft.com/office/officeart/2005/8/layout/vList2"/>
    <dgm:cxn modelId="{8CB8432D-FF8D-4E87-9C5F-7417243D22F3}" type="presOf" srcId="{27D14323-FEC8-4AD1-A878-9D7079220C6F}" destId="{BB7B1D7A-C4E5-4DED-845A-51DED6E0A20B}" srcOrd="0" destOrd="0" presId="urn:microsoft.com/office/officeart/2005/8/layout/vList2"/>
    <dgm:cxn modelId="{260DAB5F-6D1F-403B-BEB1-9317C07A6718}" type="presOf" srcId="{C5C580D2-4905-45D3-BDF4-1DAAD0F8D8E3}" destId="{CF6B6E1B-2A4F-4B51-BFC7-F9CCB87E30AE}" srcOrd="0" destOrd="0" presId="urn:microsoft.com/office/officeart/2005/8/layout/vList2"/>
    <dgm:cxn modelId="{8B040E6D-0918-4CF9-9973-F138063E1DAE}" srcId="{C8C04E82-B92D-4CB9-B617-D99B3A24D16E}" destId="{CE713011-BD51-426C-B28A-0715EC614456}" srcOrd="0" destOrd="0" parTransId="{BCF60E75-3671-4209-B35E-6F7EF523FB0C}" sibTransId="{EE98C3FB-F035-462C-ABB3-1B143FA792C7}"/>
    <dgm:cxn modelId="{647AFB84-9E4B-4D8C-AD2C-E31387223F85}" type="presOf" srcId="{FBDFA852-321C-4BD7-A1D6-75F2DE08D027}" destId="{7503DCC2-4CCE-458A-A775-77525FEE6BDF}" srcOrd="0" destOrd="0" presId="urn:microsoft.com/office/officeart/2005/8/layout/vList2"/>
    <dgm:cxn modelId="{15FA27B4-C8FA-42F6-8F37-5CCB4C4095C4}" type="presOf" srcId="{CE713011-BD51-426C-B28A-0715EC614456}" destId="{53776B76-1B71-49D2-93DF-AB36F7681FAA}" srcOrd="0" destOrd="0" presId="urn:microsoft.com/office/officeart/2005/8/layout/vList2"/>
    <dgm:cxn modelId="{87B9A0B7-691C-41B7-8C9C-15F24C03495B}" srcId="{C8C04E82-B92D-4CB9-B617-D99B3A24D16E}" destId="{0B6B84BA-ED2A-4EEA-A51E-EF2C9A72950C}" srcOrd="1" destOrd="0" parTransId="{484916AA-E2BE-4C6F-AB37-0839AE7C869E}" sibTransId="{DD173F4E-2649-4170-BFD3-BDEF24B903FE}"/>
    <dgm:cxn modelId="{AF405ADC-3817-4B31-8BC7-A923745CD704}" srcId="{C8C04E82-B92D-4CB9-B617-D99B3A24D16E}" destId="{27D14323-FEC8-4AD1-A878-9D7079220C6F}" srcOrd="4" destOrd="0" parTransId="{3EE5E295-76C7-4725-804E-5D0525F213D0}" sibTransId="{F1E93C9B-140A-46EA-8F5F-F88ACF591B67}"/>
    <dgm:cxn modelId="{E713EEDF-3B14-4C96-8E1A-A29D1AEADEF8}" srcId="{C8C04E82-B92D-4CB9-B617-D99B3A24D16E}" destId="{5F69C1EC-A790-4118-B822-3A64074C0C02}" srcOrd="3" destOrd="0" parTransId="{9AB6ADB4-691C-4DEC-A967-0C8D0FE4B07C}" sibTransId="{A6A540B7-E564-4F60-A4E6-CBF7C34BDC7B}"/>
    <dgm:cxn modelId="{2B2847F5-52AA-42D5-BFC7-F21E622575B5}" srcId="{C8C04E82-B92D-4CB9-B617-D99B3A24D16E}" destId="{C5C580D2-4905-45D3-BDF4-1DAAD0F8D8E3}" srcOrd="2" destOrd="0" parTransId="{FBE3FD00-2FCB-403A-953D-8C203C05F3EF}" sibTransId="{AA565C76-209C-4DDF-AA9F-9A08D5331CF3}"/>
    <dgm:cxn modelId="{597C11FF-29E5-444A-8010-33494B1A9E4A}" srcId="{C8C04E82-B92D-4CB9-B617-D99B3A24D16E}" destId="{FBDFA852-321C-4BD7-A1D6-75F2DE08D027}" srcOrd="5" destOrd="0" parTransId="{D8AD2600-DD27-474B-BA2E-24C3A554410F}" sibTransId="{B5919078-A174-4347-AE78-E825BDC5F922}"/>
    <dgm:cxn modelId="{75E7CF92-3546-43DC-800B-3EB2A072B025}" type="presParOf" srcId="{ADD53ADB-A4C8-45DE-8A76-C077A11EF866}" destId="{53776B76-1B71-49D2-93DF-AB36F7681FAA}" srcOrd="0" destOrd="0" presId="urn:microsoft.com/office/officeart/2005/8/layout/vList2"/>
    <dgm:cxn modelId="{8B4F93C7-489C-4ACA-A0CF-1462C2CEC95E}" type="presParOf" srcId="{ADD53ADB-A4C8-45DE-8A76-C077A11EF866}" destId="{4D60B001-DA75-483B-B362-8BCF58DBCBF4}" srcOrd="1" destOrd="0" presId="urn:microsoft.com/office/officeart/2005/8/layout/vList2"/>
    <dgm:cxn modelId="{90D351F4-1C07-451A-967E-B402F61E67E6}" type="presParOf" srcId="{ADD53ADB-A4C8-45DE-8A76-C077A11EF866}" destId="{0AAC9DE6-4858-41E1-B8A5-EF02752B5EED}" srcOrd="2" destOrd="0" presId="urn:microsoft.com/office/officeart/2005/8/layout/vList2"/>
    <dgm:cxn modelId="{52BCD676-270F-43D3-B742-942CCCA7CF3A}" type="presParOf" srcId="{ADD53ADB-A4C8-45DE-8A76-C077A11EF866}" destId="{A4E33CB6-90C2-4467-B778-0D1BBF5553A9}" srcOrd="3" destOrd="0" presId="urn:microsoft.com/office/officeart/2005/8/layout/vList2"/>
    <dgm:cxn modelId="{D66D7E96-3C52-47C5-9C7C-50669CC44556}" type="presParOf" srcId="{ADD53ADB-A4C8-45DE-8A76-C077A11EF866}" destId="{CF6B6E1B-2A4F-4B51-BFC7-F9CCB87E30AE}" srcOrd="4" destOrd="0" presId="urn:microsoft.com/office/officeart/2005/8/layout/vList2"/>
    <dgm:cxn modelId="{5AA840D7-7830-478B-98E3-295075CBE97A}" type="presParOf" srcId="{ADD53ADB-A4C8-45DE-8A76-C077A11EF866}" destId="{17910643-966A-469A-B1F1-CEABC62ED1F7}" srcOrd="5" destOrd="0" presId="urn:microsoft.com/office/officeart/2005/8/layout/vList2"/>
    <dgm:cxn modelId="{7A37E728-4B99-442F-9B3B-077C450948A3}" type="presParOf" srcId="{ADD53ADB-A4C8-45DE-8A76-C077A11EF866}" destId="{15F90CE9-07BD-429A-AF1A-CC217EC44D70}" srcOrd="6" destOrd="0" presId="urn:microsoft.com/office/officeart/2005/8/layout/vList2"/>
    <dgm:cxn modelId="{643FBB0E-6FA1-4F69-B57F-A86FCED2197B}" type="presParOf" srcId="{ADD53ADB-A4C8-45DE-8A76-C077A11EF866}" destId="{3CA1D9CA-D878-49A8-A427-BCC96CA70091}" srcOrd="7" destOrd="0" presId="urn:microsoft.com/office/officeart/2005/8/layout/vList2"/>
    <dgm:cxn modelId="{A21998A1-6FF9-4423-A34D-9C824B894604}" type="presParOf" srcId="{ADD53ADB-A4C8-45DE-8A76-C077A11EF866}" destId="{BB7B1D7A-C4E5-4DED-845A-51DED6E0A20B}" srcOrd="8" destOrd="0" presId="urn:microsoft.com/office/officeart/2005/8/layout/vList2"/>
    <dgm:cxn modelId="{86B2A5FE-071B-48E1-A8B1-BF67A49ED9AB}" type="presParOf" srcId="{ADD53ADB-A4C8-45DE-8A76-C077A11EF866}" destId="{C000648A-D6A0-4010-A245-3D31193DC461}" srcOrd="9" destOrd="0" presId="urn:microsoft.com/office/officeart/2005/8/layout/vList2"/>
    <dgm:cxn modelId="{1C75E960-D3D5-4D61-8567-3509B655CD44}" type="presParOf" srcId="{ADD53ADB-A4C8-45DE-8A76-C077A11EF866}" destId="{7503DCC2-4CCE-458A-A775-77525FEE6BDF}"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844D655-D110-4ED4-95CC-78EB99756452}"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53B47FB8-B3C2-434B-869A-49CA69504639}">
      <dgm:prSet/>
      <dgm:spPr/>
      <dgm:t>
        <a:bodyPr/>
        <a:lstStyle/>
        <a:p>
          <a:r>
            <a:rPr lang="en-US" baseline="0"/>
            <a:t>Choose the Sync Agent Gateway.</a:t>
          </a:r>
          <a:endParaRPr lang="en-US"/>
        </a:p>
      </dgm:t>
    </dgm:pt>
    <dgm:pt modelId="{0919FF5F-3978-4026-8F47-7D51298A8454}" type="parTrans" cxnId="{162A1169-5ADE-47FC-AE84-CE7F1BF85DA9}">
      <dgm:prSet/>
      <dgm:spPr/>
      <dgm:t>
        <a:bodyPr/>
        <a:lstStyle/>
        <a:p>
          <a:endParaRPr lang="en-US"/>
        </a:p>
      </dgm:t>
    </dgm:pt>
    <dgm:pt modelId="{A1290A80-B819-4639-A9E8-F6CFCD85B172}" type="sibTrans" cxnId="{162A1169-5ADE-47FC-AE84-CE7F1BF85DA9}">
      <dgm:prSet/>
      <dgm:spPr/>
      <dgm:t>
        <a:bodyPr/>
        <a:lstStyle/>
        <a:p>
          <a:endParaRPr lang="en-US"/>
        </a:p>
      </dgm:t>
    </dgm:pt>
    <dgm:pt modelId="{CB1888DD-1F1D-497B-8D5A-E77AEC1A066B}">
      <dgm:prSet/>
      <dgm:spPr/>
      <dgm:t>
        <a:bodyPr/>
        <a:lstStyle/>
        <a:p>
          <a:r>
            <a:rPr lang="en-US" baseline="0" dirty="0"/>
            <a:t>Download the Client Sync Agent &amp; install on the SQL Server.</a:t>
          </a:r>
          <a:endParaRPr lang="en-US" dirty="0"/>
        </a:p>
      </dgm:t>
    </dgm:pt>
    <dgm:pt modelId="{C10C8B55-51F2-47A4-80E4-D8852166C91E}" type="parTrans" cxnId="{D602FDAC-B82D-453C-BE09-122414EF225C}">
      <dgm:prSet/>
      <dgm:spPr/>
      <dgm:t>
        <a:bodyPr/>
        <a:lstStyle/>
        <a:p>
          <a:endParaRPr lang="en-US"/>
        </a:p>
      </dgm:t>
    </dgm:pt>
    <dgm:pt modelId="{1BC0D43D-A860-49AD-B479-BCAAC3CDED5A}" type="sibTrans" cxnId="{D602FDAC-B82D-453C-BE09-122414EF225C}">
      <dgm:prSet/>
      <dgm:spPr/>
      <dgm:t>
        <a:bodyPr/>
        <a:lstStyle/>
        <a:p>
          <a:endParaRPr lang="en-US"/>
        </a:p>
      </dgm:t>
    </dgm:pt>
    <dgm:pt modelId="{9DEA7E8E-589E-4399-8274-78759EBB4713}">
      <dgm:prSet/>
      <dgm:spPr/>
      <dgm:t>
        <a:bodyPr/>
        <a:lstStyle/>
        <a:p>
          <a:r>
            <a:rPr lang="en-US" baseline="0"/>
            <a:t>Enter a name for the Agent.</a:t>
          </a:r>
          <a:endParaRPr lang="en-US"/>
        </a:p>
      </dgm:t>
    </dgm:pt>
    <dgm:pt modelId="{4CFB7BAE-03D1-4F7E-91FE-C4FC234127F2}" type="parTrans" cxnId="{C6F092EC-2169-4137-92C4-246914714393}">
      <dgm:prSet/>
      <dgm:spPr/>
      <dgm:t>
        <a:bodyPr/>
        <a:lstStyle/>
        <a:p>
          <a:endParaRPr lang="en-US"/>
        </a:p>
      </dgm:t>
    </dgm:pt>
    <dgm:pt modelId="{028C9E16-B79F-48E4-8E76-E16CD31BA531}" type="sibTrans" cxnId="{C6F092EC-2169-4137-92C4-246914714393}">
      <dgm:prSet/>
      <dgm:spPr/>
      <dgm:t>
        <a:bodyPr/>
        <a:lstStyle/>
        <a:p>
          <a:endParaRPr lang="en-US"/>
        </a:p>
      </dgm:t>
    </dgm:pt>
    <dgm:pt modelId="{4FD79C33-1E3C-4B63-BEBB-3223E7353FE0}">
      <dgm:prSet/>
      <dgm:spPr/>
      <dgm:t>
        <a:bodyPr/>
        <a:lstStyle/>
        <a:p>
          <a:r>
            <a:rPr lang="en-US" baseline="0"/>
            <a:t>Select Create and Generate Key.</a:t>
          </a:r>
          <a:endParaRPr lang="en-US"/>
        </a:p>
      </dgm:t>
    </dgm:pt>
    <dgm:pt modelId="{C26E85E7-4CE5-4224-9B5D-FAE789C1DED1}" type="parTrans" cxnId="{D6D96AEA-94A9-49D9-AD17-CC10160AF69B}">
      <dgm:prSet/>
      <dgm:spPr/>
      <dgm:t>
        <a:bodyPr/>
        <a:lstStyle/>
        <a:p>
          <a:endParaRPr lang="en-US"/>
        </a:p>
      </dgm:t>
    </dgm:pt>
    <dgm:pt modelId="{A9A94B21-1E0A-471B-BC4D-46DE0D62BB75}" type="sibTrans" cxnId="{D6D96AEA-94A9-49D9-AD17-CC10160AF69B}">
      <dgm:prSet/>
      <dgm:spPr/>
      <dgm:t>
        <a:bodyPr/>
        <a:lstStyle/>
        <a:p>
          <a:endParaRPr lang="en-US"/>
        </a:p>
      </dgm:t>
    </dgm:pt>
    <dgm:pt modelId="{8A82B8A4-6D32-4F61-91BA-6D947FBCBFB2}">
      <dgm:prSet/>
      <dgm:spPr/>
      <dgm:t>
        <a:bodyPr/>
        <a:lstStyle/>
        <a:p>
          <a:r>
            <a:rPr lang="en-US" baseline="0"/>
            <a:t>Copy the agent key to the clipboard.</a:t>
          </a:r>
          <a:endParaRPr lang="en-US"/>
        </a:p>
      </dgm:t>
    </dgm:pt>
    <dgm:pt modelId="{9F757656-5EB8-4F99-B47D-047E4933F16F}" type="parTrans" cxnId="{35F74893-256C-4581-AFA5-5754D72E2FFC}">
      <dgm:prSet/>
      <dgm:spPr/>
      <dgm:t>
        <a:bodyPr/>
        <a:lstStyle/>
        <a:p>
          <a:endParaRPr lang="en-US"/>
        </a:p>
      </dgm:t>
    </dgm:pt>
    <dgm:pt modelId="{E13B0EDB-C464-441D-9A77-C62C4827384A}" type="sibTrans" cxnId="{35F74893-256C-4581-AFA5-5754D72E2FFC}">
      <dgm:prSet/>
      <dgm:spPr/>
      <dgm:t>
        <a:bodyPr/>
        <a:lstStyle/>
        <a:p>
          <a:endParaRPr lang="en-US"/>
        </a:p>
      </dgm:t>
    </dgm:pt>
    <dgm:pt modelId="{3245BB78-BB3F-49C8-8DA8-0318465430E1}" type="pres">
      <dgm:prSet presAssocID="{B844D655-D110-4ED4-95CC-78EB99756452}" presName="linear" presStyleCnt="0">
        <dgm:presLayoutVars>
          <dgm:animLvl val="lvl"/>
          <dgm:resizeHandles val="exact"/>
        </dgm:presLayoutVars>
      </dgm:prSet>
      <dgm:spPr/>
    </dgm:pt>
    <dgm:pt modelId="{A256CD89-D669-4F77-A0C4-3C51C2856D98}" type="pres">
      <dgm:prSet presAssocID="{53B47FB8-B3C2-434B-869A-49CA69504639}" presName="parentText" presStyleLbl="node1" presStyleIdx="0" presStyleCnt="5">
        <dgm:presLayoutVars>
          <dgm:chMax val="0"/>
          <dgm:bulletEnabled val="1"/>
        </dgm:presLayoutVars>
      </dgm:prSet>
      <dgm:spPr/>
    </dgm:pt>
    <dgm:pt modelId="{9D5CBE35-0440-4E6B-8608-84BE86C6A500}" type="pres">
      <dgm:prSet presAssocID="{A1290A80-B819-4639-A9E8-F6CFCD85B172}" presName="spacer" presStyleCnt="0"/>
      <dgm:spPr/>
    </dgm:pt>
    <dgm:pt modelId="{7BB8495A-FC38-40B0-ACCD-1F8431D3736A}" type="pres">
      <dgm:prSet presAssocID="{CB1888DD-1F1D-497B-8D5A-E77AEC1A066B}" presName="parentText" presStyleLbl="node1" presStyleIdx="1" presStyleCnt="5">
        <dgm:presLayoutVars>
          <dgm:chMax val="0"/>
          <dgm:bulletEnabled val="1"/>
        </dgm:presLayoutVars>
      </dgm:prSet>
      <dgm:spPr/>
    </dgm:pt>
    <dgm:pt modelId="{CEC00A21-95A3-4AD1-B8B1-E22A0D386DA9}" type="pres">
      <dgm:prSet presAssocID="{1BC0D43D-A860-49AD-B479-BCAAC3CDED5A}" presName="spacer" presStyleCnt="0"/>
      <dgm:spPr/>
    </dgm:pt>
    <dgm:pt modelId="{2A6F4800-6C5E-4E22-BBC1-CB979BC8F3FD}" type="pres">
      <dgm:prSet presAssocID="{9DEA7E8E-589E-4399-8274-78759EBB4713}" presName="parentText" presStyleLbl="node1" presStyleIdx="2" presStyleCnt="5">
        <dgm:presLayoutVars>
          <dgm:chMax val="0"/>
          <dgm:bulletEnabled val="1"/>
        </dgm:presLayoutVars>
      </dgm:prSet>
      <dgm:spPr/>
    </dgm:pt>
    <dgm:pt modelId="{263BB31C-C06C-4A55-934E-57D9846D7FDE}" type="pres">
      <dgm:prSet presAssocID="{028C9E16-B79F-48E4-8E76-E16CD31BA531}" presName="spacer" presStyleCnt="0"/>
      <dgm:spPr/>
    </dgm:pt>
    <dgm:pt modelId="{30EE637C-7067-4544-A430-3DCF3FB49AF1}" type="pres">
      <dgm:prSet presAssocID="{4FD79C33-1E3C-4B63-BEBB-3223E7353FE0}" presName="parentText" presStyleLbl="node1" presStyleIdx="3" presStyleCnt="5">
        <dgm:presLayoutVars>
          <dgm:chMax val="0"/>
          <dgm:bulletEnabled val="1"/>
        </dgm:presLayoutVars>
      </dgm:prSet>
      <dgm:spPr/>
    </dgm:pt>
    <dgm:pt modelId="{273AEDB4-F708-41A1-9110-7EE3CD09ED96}" type="pres">
      <dgm:prSet presAssocID="{A9A94B21-1E0A-471B-BC4D-46DE0D62BB75}" presName="spacer" presStyleCnt="0"/>
      <dgm:spPr/>
    </dgm:pt>
    <dgm:pt modelId="{2A115517-8183-4BC1-98D9-AB34EB7C8A5F}" type="pres">
      <dgm:prSet presAssocID="{8A82B8A4-6D32-4F61-91BA-6D947FBCBFB2}" presName="parentText" presStyleLbl="node1" presStyleIdx="4" presStyleCnt="5">
        <dgm:presLayoutVars>
          <dgm:chMax val="0"/>
          <dgm:bulletEnabled val="1"/>
        </dgm:presLayoutVars>
      </dgm:prSet>
      <dgm:spPr/>
    </dgm:pt>
  </dgm:ptLst>
  <dgm:cxnLst>
    <dgm:cxn modelId="{2A1A1248-889F-4C54-8C6A-76A34F2C9C5B}" type="presOf" srcId="{CB1888DD-1F1D-497B-8D5A-E77AEC1A066B}" destId="{7BB8495A-FC38-40B0-ACCD-1F8431D3736A}" srcOrd="0" destOrd="0" presId="urn:microsoft.com/office/officeart/2005/8/layout/vList2"/>
    <dgm:cxn modelId="{162A1169-5ADE-47FC-AE84-CE7F1BF85DA9}" srcId="{B844D655-D110-4ED4-95CC-78EB99756452}" destId="{53B47FB8-B3C2-434B-869A-49CA69504639}" srcOrd="0" destOrd="0" parTransId="{0919FF5F-3978-4026-8F47-7D51298A8454}" sibTransId="{A1290A80-B819-4639-A9E8-F6CFCD85B172}"/>
    <dgm:cxn modelId="{2FB7EB8E-8483-4E10-8975-305A2908511E}" type="presOf" srcId="{4FD79C33-1E3C-4B63-BEBB-3223E7353FE0}" destId="{30EE637C-7067-4544-A430-3DCF3FB49AF1}" srcOrd="0" destOrd="0" presId="urn:microsoft.com/office/officeart/2005/8/layout/vList2"/>
    <dgm:cxn modelId="{35F74893-256C-4581-AFA5-5754D72E2FFC}" srcId="{B844D655-D110-4ED4-95CC-78EB99756452}" destId="{8A82B8A4-6D32-4F61-91BA-6D947FBCBFB2}" srcOrd="4" destOrd="0" parTransId="{9F757656-5EB8-4F99-B47D-047E4933F16F}" sibTransId="{E13B0EDB-C464-441D-9A77-C62C4827384A}"/>
    <dgm:cxn modelId="{1820E197-3F0D-41BF-A1E9-C5D957749BA9}" type="presOf" srcId="{53B47FB8-B3C2-434B-869A-49CA69504639}" destId="{A256CD89-D669-4F77-A0C4-3C51C2856D98}" srcOrd="0" destOrd="0" presId="urn:microsoft.com/office/officeart/2005/8/layout/vList2"/>
    <dgm:cxn modelId="{D602FDAC-B82D-453C-BE09-122414EF225C}" srcId="{B844D655-D110-4ED4-95CC-78EB99756452}" destId="{CB1888DD-1F1D-497B-8D5A-E77AEC1A066B}" srcOrd="1" destOrd="0" parTransId="{C10C8B55-51F2-47A4-80E4-D8852166C91E}" sibTransId="{1BC0D43D-A860-49AD-B479-BCAAC3CDED5A}"/>
    <dgm:cxn modelId="{9D54A6CE-4893-40F6-AFC4-68E3E0D35282}" type="presOf" srcId="{B844D655-D110-4ED4-95CC-78EB99756452}" destId="{3245BB78-BB3F-49C8-8DA8-0318465430E1}" srcOrd="0" destOrd="0" presId="urn:microsoft.com/office/officeart/2005/8/layout/vList2"/>
    <dgm:cxn modelId="{D6D96AEA-94A9-49D9-AD17-CC10160AF69B}" srcId="{B844D655-D110-4ED4-95CC-78EB99756452}" destId="{4FD79C33-1E3C-4B63-BEBB-3223E7353FE0}" srcOrd="3" destOrd="0" parTransId="{C26E85E7-4CE5-4224-9B5D-FAE789C1DED1}" sibTransId="{A9A94B21-1E0A-471B-BC4D-46DE0D62BB75}"/>
    <dgm:cxn modelId="{C6F092EC-2169-4137-92C4-246914714393}" srcId="{B844D655-D110-4ED4-95CC-78EB99756452}" destId="{9DEA7E8E-589E-4399-8274-78759EBB4713}" srcOrd="2" destOrd="0" parTransId="{4CFB7BAE-03D1-4F7E-91FE-C4FC234127F2}" sibTransId="{028C9E16-B79F-48E4-8E76-E16CD31BA531}"/>
    <dgm:cxn modelId="{C63725FC-7329-4578-991B-1076543FADF3}" type="presOf" srcId="{8A82B8A4-6D32-4F61-91BA-6D947FBCBFB2}" destId="{2A115517-8183-4BC1-98D9-AB34EB7C8A5F}" srcOrd="0" destOrd="0" presId="urn:microsoft.com/office/officeart/2005/8/layout/vList2"/>
    <dgm:cxn modelId="{55FAA5FD-692A-4903-8A7C-94EE53094224}" type="presOf" srcId="{9DEA7E8E-589E-4399-8274-78759EBB4713}" destId="{2A6F4800-6C5E-4E22-BBC1-CB979BC8F3FD}" srcOrd="0" destOrd="0" presId="urn:microsoft.com/office/officeart/2005/8/layout/vList2"/>
    <dgm:cxn modelId="{4F6CB308-5972-4D87-B2E1-A69459DB92BB}" type="presParOf" srcId="{3245BB78-BB3F-49C8-8DA8-0318465430E1}" destId="{A256CD89-D669-4F77-A0C4-3C51C2856D98}" srcOrd="0" destOrd="0" presId="urn:microsoft.com/office/officeart/2005/8/layout/vList2"/>
    <dgm:cxn modelId="{A44C31BC-D846-41D9-A32D-F9F895EC638D}" type="presParOf" srcId="{3245BB78-BB3F-49C8-8DA8-0318465430E1}" destId="{9D5CBE35-0440-4E6B-8608-84BE86C6A500}" srcOrd="1" destOrd="0" presId="urn:microsoft.com/office/officeart/2005/8/layout/vList2"/>
    <dgm:cxn modelId="{16F921D2-FCA9-49EB-9D6F-CECB496A76B7}" type="presParOf" srcId="{3245BB78-BB3F-49C8-8DA8-0318465430E1}" destId="{7BB8495A-FC38-40B0-ACCD-1F8431D3736A}" srcOrd="2" destOrd="0" presId="urn:microsoft.com/office/officeart/2005/8/layout/vList2"/>
    <dgm:cxn modelId="{23998863-1D87-4787-B675-AB4F7C156650}" type="presParOf" srcId="{3245BB78-BB3F-49C8-8DA8-0318465430E1}" destId="{CEC00A21-95A3-4AD1-B8B1-E22A0D386DA9}" srcOrd="3" destOrd="0" presId="urn:microsoft.com/office/officeart/2005/8/layout/vList2"/>
    <dgm:cxn modelId="{90FB80A4-B526-4379-AE25-EEEB9626F37E}" type="presParOf" srcId="{3245BB78-BB3F-49C8-8DA8-0318465430E1}" destId="{2A6F4800-6C5E-4E22-BBC1-CB979BC8F3FD}" srcOrd="4" destOrd="0" presId="urn:microsoft.com/office/officeart/2005/8/layout/vList2"/>
    <dgm:cxn modelId="{B04EABED-6FF8-4DBF-997F-6982A68C0E2B}" type="presParOf" srcId="{3245BB78-BB3F-49C8-8DA8-0318465430E1}" destId="{263BB31C-C06C-4A55-934E-57D9846D7FDE}" srcOrd="5" destOrd="0" presId="urn:microsoft.com/office/officeart/2005/8/layout/vList2"/>
    <dgm:cxn modelId="{7A25598B-31C0-492C-AA77-A22412AB68DC}" type="presParOf" srcId="{3245BB78-BB3F-49C8-8DA8-0318465430E1}" destId="{30EE637C-7067-4544-A430-3DCF3FB49AF1}" srcOrd="6" destOrd="0" presId="urn:microsoft.com/office/officeart/2005/8/layout/vList2"/>
    <dgm:cxn modelId="{32645108-8B6C-404B-B82C-321653D8E8CA}" type="presParOf" srcId="{3245BB78-BB3F-49C8-8DA8-0318465430E1}" destId="{273AEDB4-F708-41A1-9110-7EE3CD09ED96}" srcOrd="7" destOrd="0" presId="urn:microsoft.com/office/officeart/2005/8/layout/vList2"/>
    <dgm:cxn modelId="{6A909496-C81E-44A1-BF78-239B31A99965}" type="presParOf" srcId="{3245BB78-BB3F-49C8-8DA8-0318465430E1}" destId="{2A115517-8183-4BC1-98D9-AB34EB7C8A5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73DD56D4-1EBC-4F93-A09F-9205B110951A}"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B5FBA70D-F968-45D8-80BA-08725C761003}">
      <dgm:prSet/>
      <dgm:spPr/>
      <dgm:t>
        <a:bodyPr/>
        <a:lstStyle/>
        <a:p>
          <a:r>
            <a:rPr lang="en-US" baseline="0"/>
            <a:t>Launch Client Sync Agent app.</a:t>
          </a:r>
          <a:endParaRPr lang="en-US"/>
        </a:p>
      </dgm:t>
    </dgm:pt>
    <dgm:pt modelId="{E23DB8C7-04DD-4859-AAE5-A85B12951C17}" type="parTrans" cxnId="{3A013DC2-7DF7-428A-8FED-4FBBC8C10787}">
      <dgm:prSet/>
      <dgm:spPr/>
      <dgm:t>
        <a:bodyPr/>
        <a:lstStyle/>
        <a:p>
          <a:endParaRPr lang="en-US"/>
        </a:p>
      </dgm:t>
    </dgm:pt>
    <dgm:pt modelId="{C7268BE5-9144-4CFA-B610-C7C3F57D5D74}" type="sibTrans" cxnId="{3A013DC2-7DF7-428A-8FED-4FBBC8C10787}">
      <dgm:prSet/>
      <dgm:spPr/>
      <dgm:t>
        <a:bodyPr/>
        <a:lstStyle/>
        <a:p>
          <a:endParaRPr lang="en-US"/>
        </a:p>
      </dgm:t>
    </dgm:pt>
    <dgm:pt modelId="{5BDD44E0-6D04-405B-BE8A-8CDE235FBF02}">
      <dgm:prSet/>
      <dgm:spPr/>
      <dgm:t>
        <a:bodyPr/>
        <a:lstStyle/>
        <a:p>
          <a:r>
            <a:rPr lang="en-US" baseline="0"/>
            <a:t>Submit Agent Key.</a:t>
          </a:r>
          <a:endParaRPr lang="en-US"/>
        </a:p>
      </dgm:t>
    </dgm:pt>
    <dgm:pt modelId="{FCBA27C8-F22F-41A8-8C84-17D9D4FE1468}" type="parTrans" cxnId="{9F042E07-EDD8-436A-88AD-43EEBC79A044}">
      <dgm:prSet/>
      <dgm:spPr/>
      <dgm:t>
        <a:bodyPr/>
        <a:lstStyle/>
        <a:p>
          <a:endParaRPr lang="en-US"/>
        </a:p>
      </dgm:t>
    </dgm:pt>
    <dgm:pt modelId="{6AA764C7-D159-4731-A58F-045564627018}" type="sibTrans" cxnId="{9F042E07-EDD8-436A-88AD-43EEBC79A044}">
      <dgm:prSet/>
      <dgm:spPr/>
      <dgm:t>
        <a:bodyPr/>
        <a:lstStyle/>
        <a:p>
          <a:endParaRPr lang="en-US"/>
        </a:p>
      </dgm:t>
    </dgm:pt>
    <dgm:pt modelId="{806F24C9-1145-44E4-B04C-5E89541827F0}">
      <dgm:prSet/>
      <dgm:spPr/>
      <dgm:t>
        <a:bodyPr/>
        <a:lstStyle/>
        <a:p>
          <a:r>
            <a:rPr lang="en-US" baseline="0"/>
            <a:t>Paste the agent Key.</a:t>
          </a:r>
          <a:endParaRPr lang="en-US"/>
        </a:p>
      </dgm:t>
    </dgm:pt>
    <dgm:pt modelId="{96E7A684-CAE3-4FC1-BBD5-FB207AF54F3E}" type="parTrans" cxnId="{6FC0DD43-FC94-40A1-B63C-9C83F5F9434F}">
      <dgm:prSet/>
      <dgm:spPr/>
      <dgm:t>
        <a:bodyPr/>
        <a:lstStyle/>
        <a:p>
          <a:endParaRPr lang="en-US"/>
        </a:p>
      </dgm:t>
    </dgm:pt>
    <dgm:pt modelId="{E2F4407E-DB3B-4E3E-8444-067C744D95D4}" type="sibTrans" cxnId="{6FC0DD43-FC94-40A1-B63C-9C83F5F9434F}">
      <dgm:prSet/>
      <dgm:spPr/>
      <dgm:t>
        <a:bodyPr/>
        <a:lstStyle/>
        <a:p>
          <a:endParaRPr lang="en-US"/>
        </a:p>
      </dgm:t>
    </dgm:pt>
    <dgm:pt modelId="{799A2559-D015-4220-8F10-20C1D3CF7FAA}">
      <dgm:prSet/>
      <dgm:spPr/>
      <dgm:t>
        <a:bodyPr/>
        <a:lstStyle/>
        <a:p>
          <a:r>
            <a:rPr lang="en-US" baseline="0"/>
            <a:t>Provide credentials for the metadata database.</a:t>
          </a:r>
          <a:endParaRPr lang="en-US"/>
        </a:p>
      </dgm:t>
    </dgm:pt>
    <dgm:pt modelId="{46DD5D87-F942-439D-B29F-E3086E1ADD5B}" type="parTrans" cxnId="{8936003E-E684-4484-83AA-0703E375FAAF}">
      <dgm:prSet/>
      <dgm:spPr/>
      <dgm:t>
        <a:bodyPr/>
        <a:lstStyle/>
        <a:p>
          <a:endParaRPr lang="en-US"/>
        </a:p>
      </dgm:t>
    </dgm:pt>
    <dgm:pt modelId="{8938250A-2D2E-4E79-B922-3796DE5B1444}" type="sibTrans" cxnId="{8936003E-E684-4484-83AA-0703E375FAAF}">
      <dgm:prSet/>
      <dgm:spPr/>
      <dgm:t>
        <a:bodyPr/>
        <a:lstStyle/>
        <a:p>
          <a:endParaRPr lang="en-US"/>
        </a:p>
      </dgm:t>
    </dgm:pt>
    <dgm:pt modelId="{C6B0C8CB-2D54-468B-8F01-6719C292CAB8}">
      <dgm:prSet/>
      <dgm:spPr/>
      <dgm:t>
        <a:bodyPr/>
        <a:lstStyle/>
        <a:p>
          <a:r>
            <a:rPr lang="en-US" baseline="0"/>
            <a:t>Click Register to register a SQL Server database with the agent.</a:t>
          </a:r>
          <a:endParaRPr lang="en-US"/>
        </a:p>
      </dgm:t>
    </dgm:pt>
    <dgm:pt modelId="{5E6A3FF7-0FD5-481B-B935-C788D8F01DC5}" type="parTrans" cxnId="{FF42396E-2A30-4C8C-B64D-9E3F89CF7FAC}">
      <dgm:prSet/>
      <dgm:spPr/>
      <dgm:t>
        <a:bodyPr/>
        <a:lstStyle/>
        <a:p>
          <a:endParaRPr lang="en-US"/>
        </a:p>
      </dgm:t>
    </dgm:pt>
    <dgm:pt modelId="{7186EB59-21D6-48C7-9BD3-CA7078FB3E3C}" type="sibTrans" cxnId="{FF42396E-2A30-4C8C-B64D-9E3F89CF7FAC}">
      <dgm:prSet/>
      <dgm:spPr/>
      <dgm:t>
        <a:bodyPr/>
        <a:lstStyle/>
        <a:p>
          <a:endParaRPr lang="en-US"/>
        </a:p>
      </dgm:t>
    </dgm:pt>
    <dgm:pt modelId="{2AE8B557-3D49-4DB7-B071-B78E120EAD57}">
      <dgm:prSet/>
      <dgm:spPr/>
      <dgm:t>
        <a:bodyPr/>
        <a:lstStyle/>
        <a:p>
          <a:r>
            <a:rPr lang="en-US" baseline="0"/>
            <a:t>Provide the SQL Server name and the name of the database that you want to sync.</a:t>
          </a:r>
          <a:endParaRPr lang="en-US"/>
        </a:p>
      </dgm:t>
    </dgm:pt>
    <dgm:pt modelId="{0B46AB28-FCAC-4FCB-A6DF-F30167EF1C67}" type="parTrans" cxnId="{F431BB45-5CC8-43B9-B83B-ED6157D2CA9E}">
      <dgm:prSet/>
      <dgm:spPr/>
      <dgm:t>
        <a:bodyPr/>
        <a:lstStyle/>
        <a:p>
          <a:endParaRPr lang="en-US"/>
        </a:p>
      </dgm:t>
    </dgm:pt>
    <dgm:pt modelId="{9C2501CF-EC23-442F-96F6-4FB18CE8C8AE}" type="sibTrans" cxnId="{F431BB45-5CC8-43B9-B83B-ED6157D2CA9E}">
      <dgm:prSet/>
      <dgm:spPr/>
      <dgm:t>
        <a:bodyPr/>
        <a:lstStyle/>
        <a:p>
          <a:endParaRPr lang="en-US"/>
        </a:p>
      </dgm:t>
    </dgm:pt>
    <dgm:pt modelId="{8A798F31-3406-4DBC-80E7-45605A087DFA}" type="pres">
      <dgm:prSet presAssocID="{73DD56D4-1EBC-4F93-A09F-9205B110951A}" presName="linear" presStyleCnt="0">
        <dgm:presLayoutVars>
          <dgm:animLvl val="lvl"/>
          <dgm:resizeHandles val="exact"/>
        </dgm:presLayoutVars>
      </dgm:prSet>
      <dgm:spPr/>
    </dgm:pt>
    <dgm:pt modelId="{A1A34299-8FC7-45CE-9E5E-51C8A87654C5}" type="pres">
      <dgm:prSet presAssocID="{B5FBA70D-F968-45D8-80BA-08725C761003}" presName="parentText" presStyleLbl="node1" presStyleIdx="0" presStyleCnt="6">
        <dgm:presLayoutVars>
          <dgm:chMax val="0"/>
          <dgm:bulletEnabled val="1"/>
        </dgm:presLayoutVars>
      </dgm:prSet>
      <dgm:spPr/>
    </dgm:pt>
    <dgm:pt modelId="{1FF8FD6F-670B-4422-A5C2-2E89E132BA48}" type="pres">
      <dgm:prSet presAssocID="{C7268BE5-9144-4CFA-B610-C7C3F57D5D74}" presName="spacer" presStyleCnt="0"/>
      <dgm:spPr/>
    </dgm:pt>
    <dgm:pt modelId="{33608BBB-2961-44AB-B75C-0CB2FEA9AE59}" type="pres">
      <dgm:prSet presAssocID="{5BDD44E0-6D04-405B-BE8A-8CDE235FBF02}" presName="parentText" presStyleLbl="node1" presStyleIdx="1" presStyleCnt="6">
        <dgm:presLayoutVars>
          <dgm:chMax val="0"/>
          <dgm:bulletEnabled val="1"/>
        </dgm:presLayoutVars>
      </dgm:prSet>
      <dgm:spPr/>
    </dgm:pt>
    <dgm:pt modelId="{3D2CFC65-5F5E-4B57-B16D-8490DBFE2960}" type="pres">
      <dgm:prSet presAssocID="{6AA764C7-D159-4731-A58F-045564627018}" presName="spacer" presStyleCnt="0"/>
      <dgm:spPr/>
    </dgm:pt>
    <dgm:pt modelId="{70C8FB59-E95E-4E01-AD1E-3B0A62CD8B47}" type="pres">
      <dgm:prSet presAssocID="{806F24C9-1145-44E4-B04C-5E89541827F0}" presName="parentText" presStyleLbl="node1" presStyleIdx="2" presStyleCnt="6">
        <dgm:presLayoutVars>
          <dgm:chMax val="0"/>
          <dgm:bulletEnabled val="1"/>
        </dgm:presLayoutVars>
      </dgm:prSet>
      <dgm:spPr/>
    </dgm:pt>
    <dgm:pt modelId="{288D3831-F14D-4DC5-A6FC-6BFBF63AC1CF}" type="pres">
      <dgm:prSet presAssocID="{E2F4407E-DB3B-4E3E-8444-067C744D95D4}" presName="spacer" presStyleCnt="0"/>
      <dgm:spPr/>
    </dgm:pt>
    <dgm:pt modelId="{75100B2C-E764-4308-B9EB-4D9C2DBD4578}" type="pres">
      <dgm:prSet presAssocID="{799A2559-D015-4220-8F10-20C1D3CF7FAA}" presName="parentText" presStyleLbl="node1" presStyleIdx="3" presStyleCnt="6">
        <dgm:presLayoutVars>
          <dgm:chMax val="0"/>
          <dgm:bulletEnabled val="1"/>
        </dgm:presLayoutVars>
      </dgm:prSet>
      <dgm:spPr/>
    </dgm:pt>
    <dgm:pt modelId="{3EEC2680-D880-4168-9EFD-E1BCE1BB4647}" type="pres">
      <dgm:prSet presAssocID="{8938250A-2D2E-4E79-B922-3796DE5B1444}" presName="spacer" presStyleCnt="0"/>
      <dgm:spPr/>
    </dgm:pt>
    <dgm:pt modelId="{A1988505-8ED0-44BB-960D-E93D0DFA1248}" type="pres">
      <dgm:prSet presAssocID="{C6B0C8CB-2D54-468B-8F01-6719C292CAB8}" presName="parentText" presStyleLbl="node1" presStyleIdx="4" presStyleCnt="6">
        <dgm:presLayoutVars>
          <dgm:chMax val="0"/>
          <dgm:bulletEnabled val="1"/>
        </dgm:presLayoutVars>
      </dgm:prSet>
      <dgm:spPr/>
    </dgm:pt>
    <dgm:pt modelId="{1F10F19C-25E8-403C-9271-1FABD780B850}" type="pres">
      <dgm:prSet presAssocID="{7186EB59-21D6-48C7-9BD3-CA7078FB3E3C}" presName="spacer" presStyleCnt="0"/>
      <dgm:spPr/>
    </dgm:pt>
    <dgm:pt modelId="{19A6EEA0-80D3-442C-9D2D-88CCB3F54294}" type="pres">
      <dgm:prSet presAssocID="{2AE8B557-3D49-4DB7-B071-B78E120EAD57}" presName="parentText" presStyleLbl="node1" presStyleIdx="5" presStyleCnt="6">
        <dgm:presLayoutVars>
          <dgm:chMax val="0"/>
          <dgm:bulletEnabled val="1"/>
        </dgm:presLayoutVars>
      </dgm:prSet>
      <dgm:spPr/>
    </dgm:pt>
  </dgm:ptLst>
  <dgm:cxnLst>
    <dgm:cxn modelId="{9F042E07-EDD8-436A-88AD-43EEBC79A044}" srcId="{73DD56D4-1EBC-4F93-A09F-9205B110951A}" destId="{5BDD44E0-6D04-405B-BE8A-8CDE235FBF02}" srcOrd="1" destOrd="0" parTransId="{FCBA27C8-F22F-41A8-8C84-17D9D4FE1468}" sibTransId="{6AA764C7-D159-4731-A58F-045564627018}"/>
    <dgm:cxn modelId="{4022552F-7F41-46E7-A693-9B84B382593D}" type="presOf" srcId="{B5FBA70D-F968-45D8-80BA-08725C761003}" destId="{A1A34299-8FC7-45CE-9E5E-51C8A87654C5}" srcOrd="0" destOrd="0" presId="urn:microsoft.com/office/officeart/2005/8/layout/vList2"/>
    <dgm:cxn modelId="{8936003E-E684-4484-83AA-0703E375FAAF}" srcId="{73DD56D4-1EBC-4F93-A09F-9205B110951A}" destId="{799A2559-D015-4220-8F10-20C1D3CF7FAA}" srcOrd="3" destOrd="0" parTransId="{46DD5D87-F942-439D-B29F-E3086E1ADD5B}" sibTransId="{8938250A-2D2E-4E79-B922-3796DE5B1444}"/>
    <dgm:cxn modelId="{6FC0DD43-FC94-40A1-B63C-9C83F5F9434F}" srcId="{73DD56D4-1EBC-4F93-A09F-9205B110951A}" destId="{806F24C9-1145-44E4-B04C-5E89541827F0}" srcOrd="2" destOrd="0" parTransId="{96E7A684-CAE3-4FC1-BBD5-FB207AF54F3E}" sibTransId="{E2F4407E-DB3B-4E3E-8444-067C744D95D4}"/>
    <dgm:cxn modelId="{F431BB45-5CC8-43B9-B83B-ED6157D2CA9E}" srcId="{73DD56D4-1EBC-4F93-A09F-9205B110951A}" destId="{2AE8B557-3D49-4DB7-B071-B78E120EAD57}" srcOrd="5" destOrd="0" parTransId="{0B46AB28-FCAC-4FCB-A6DF-F30167EF1C67}" sibTransId="{9C2501CF-EC23-442F-96F6-4FB18CE8C8AE}"/>
    <dgm:cxn modelId="{FF42396E-2A30-4C8C-B64D-9E3F89CF7FAC}" srcId="{73DD56D4-1EBC-4F93-A09F-9205B110951A}" destId="{C6B0C8CB-2D54-468B-8F01-6719C292CAB8}" srcOrd="4" destOrd="0" parTransId="{5E6A3FF7-0FD5-481B-B935-C788D8F01DC5}" sibTransId="{7186EB59-21D6-48C7-9BD3-CA7078FB3E3C}"/>
    <dgm:cxn modelId="{A675AD82-A9A3-481A-9569-056996A3B265}" type="presOf" srcId="{806F24C9-1145-44E4-B04C-5E89541827F0}" destId="{70C8FB59-E95E-4E01-AD1E-3B0A62CD8B47}" srcOrd="0" destOrd="0" presId="urn:microsoft.com/office/officeart/2005/8/layout/vList2"/>
    <dgm:cxn modelId="{1E3F8DA3-4E53-4E0A-B601-AAFD0D4E24AA}" type="presOf" srcId="{5BDD44E0-6D04-405B-BE8A-8CDE235FBF02}" destId="{33608BBB-2961-44AB-B75C-0CB2FEA9AE59}" srcOrd="0" destOrd="0" presId="urn:microsoft.com/office/officeart/2005/8/layout/vList2"/>
    <dgm:cxn modelId="{3A013DC2-7DF7-428A-8FED-4FBBC8C10787}" srcId="{73DD56D4-1EBC-4F93-A09F-9205B110951A}" destId="{B5FBA70D-F968-45D8-80BA-08725C761003}" srcOrd="0" destOrd="0" parTransId="{E23DB8C7-04DD-4859-AAE5-A85B12951C17}" sibTransId="{C7268BE5-9144-4CFA-B610-C7C3F57D5D74}"/>
    <dgm:cxn modelId="{22FC4BD7-2D91-4F3A-BBC1-D7B059F21D7E}" type="presOf" srcId="{73DD56D4-1EBC-4F93-A09F-9205B110951A}" destId="{8A798F31-3406-4DBC-80E7-45605A087DFA}" srcOrd="0" destOrd="0" presId="urn:microsoft.com/office/officeart/2005/8/layout/vList2"/>
    <dgm:cxn modelId="{B55160ED-858B-4093-A0F4-C2D7AC3E001D}" type="presOf" srcId="{2AE8B557-3D49-4DB7-B071-B78E120EAD57}" destId="{19A6EEA0-80D3-442C-9D2D-88CCB3F54294}" srcOrd="0" destOrd="0" presId="urn:microsoft.com/office/officeart/2005/8/layout/vList2"/>
    <dgm:cxn modelId="{4254E6F3-885F-4BD1-9ABC-72CC28B21A30}" type="presOf" srcId="{C6B0C8CB-2D54-468B-8F01-6719C292CAB8}" destId="{A1988505-8ED0-44BB-960D-E93D0DFA1248}" srcOrd="0" destOrd="0" presId="urn:microsoft.com/office/officeart/2005/8/layout/vList2"/>
    <dgm:cxn modelId="{631CCDF6-FFF1-4E53-8A10-CD211CB8B075}" type="presOf" srcId="{799A2559-D015-4220-8F10-20C1D3CF7FAA}" destId="{75100B2C-E764-4308-B9EB-4D9C2DBD4578}" srcOrd="0" destOrd="0" presId="urn:microsoft.com/office/officeart/2005/8/layout/vList2"/>
    <dgm:cxn modelId="{BEF862E0-C601-4440-8DEE-1B64C3256B4A}" type="presParOf" srcId="{8A798F31-3406-4DBC-80E7-45605A087DFA}" destId="{A1A34299-8FC7-45CE-9E5E-51C8A87654C5}" srcOrd="0" destOrd="0" presId="urn:microsoft.com/office/officeart/2005/8/layout/vList2"/>
    <dgm:cxn modelId="{AF50A163-20C2-441A-A0A9-12B526EAFCCB}" type="presParOf" srcId="{8A798F31-3406-4DBC-80E7-45605A087DFA}" destId="{1FF8FD6F-670B-4422-A5C2-2E89E132BA48}" srcOrd="1" destOrd="0" presId="urn:microsoft.com/office/officeart/2005/8/layout/vList2"/>
    <dgm:cxn modelId="{0FD26B9F-1F24-424F-9F9E-6C9AC6ADE8D1}" type="presParOf" srcId="{8A798F31-3406-4DBC-80E7-45605A087DFA}" destId="{33608BBB-2961-44AB-B75C-0CB2FEA9AE59}" srcOrd="2" destOrd="0" presId="urn:microsoft.com/office/officeart/2005/8/layout/vList2"/>
    <dgm:cxn modelId="{1DB9DEF0-7C02-4478-A981-74342D094DD1}" type="presParOf" srcId="{8A798F31-3406-4DBC-80E7-45605A087DFA}" destId="{3D2CFC65-5F5E-4B57-B16D-8490DBFE2960}" srcOrd="3" destOrd="0" presId="urn:microsoft.com/office/officeart/2005/8/layout/vList2"/>
    <dgm:cxn modelId="{F2BC48A2-4D52-460A-AF4B-8AB2FDDB0E80}" type="presParOf" srcId="{8A798F31-3406-4DBC-80E7-45605A087DFA}" destId="{70C8FB59-E95E-4E01-AD1E-3B0A62CD8B47}" srcOrd="4" destOrd="0" presId="urn:microsoft.com/office/officeart/2005/8/layout/vList2"/>
    <dgm:cxn modelId="{80CC87AC-156D-4C2B-9288-A49D76673002}" type="presParOf" srcId="{8A798F31-3406-4DBC-80E7-45605A087DFA}" destId="{288D3831-F14D-4DC5-A6FC-6BFBF63AC1CF}" srcOrd="5" destOrd="0" presId="urn:microsoft.com/office/officeart/2005/8/layout/vList2"/>
    <dgm:cxn modelId="{FB9BE5C8-898A-49DD-B902-7024157FB80D}" type="presParOf" srcId="{8A798F31-3406-4DBC-80E7-45605A087DFA}" destId="{75100B2C-E764-4308-B9EB-4D9C2DBD4578}" srcOrd="6" destOrd="0" presId="urn:microsoft.com/office/officeart/2005/8/layout/vList2"/>
    <dgm:cxn modelId="{A3E9EFC2-4646-4D1D-B7A3-904A74B840A0}" type="presParOf" srcId="{8A798F31-3406-4DBC-80E7-45605A087DFA}" destId="{3EEC2680-D880-4168-9EFD-E1BCE1BB4647}" srcOrd="7" destOrd="0" presId="urn:microsoft.com/office/officeart/2005/8/layout/vList2"/>
    <dgm:cxn modelId="{0818528D-7ED5-408B-A0BB-655E30C1601C}" type="presParOf" srcId="{8A798F31-3406-4DBC-80E7-45605A087DFA}" destId="{A1988505-8ED0-44BB-960D-E93D0DFA1248}" srcOrd="8" destOrd="0" presId="urn:microsoft.com/office/officeart/2005/8/layout/vList2"/>
    <dgm:cxn modelId="{AA5D7007-915B-48BC-B43C-0F5D76369A21}" type="presParOf" srcId="{8A798F31-3406-4DBC-80E7-45605A087DFA}" destId="{1F10F19C-25E8-403C-9271-1FABD780B850}" srcOrd="9" destOrd="0" presId="urn:microsoft.com/office/officeart/2005/8/layout/vList2"/>
    <dgm:cxn modelId="{F7919E5F-71E0-4806-8CD0-32EB63D6EB21}" type="presParOf" srcId="{8A798F31-3406-4DBC-80E7-45605A087DFA}" destId="{19A6EEA0-80D3-442C-9D2D-88CCB3F54294}"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EF3DB68F-3B81-445A-B761-2F06A73021E3}"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4942D783-FBBC-47C5-9FFC-488F5EDE5E06}">
      <dgm:prSet/>
      <dgm:spPr/>
      <dgm:t>
        <a:bodyPr/>
        <a:lstStyle/>
        <a:p>
          <a:r>
            <a:rPr lang="en-US" baseline="0"/>
            <a:t>Select the Database.</a:t>
          </a:r>
          <a:endParaRPr lang="en-US"/>
        </a:p>
      </dgm:t>
    </dgm:pt>
    <dgm:pt modelId="{8A191115-D677-4B55-84F9-C03CA5231BAB}" type="parTrans" cxnId="{DC830584-AABF-4E5D-B7EB-1B4EBF6C50FD}">
      <dgm:prSet/>
      <dgm:spPr/>
      <dgm:t>
        <a:bodyPr/>
        <a:lstStyle/>
        <a:p>
          <a:endParaRPr lang="en-US"/>
        </a:p>
      </dgm:t>
    </dgm:pt>
    <dgm:pt modelId="{12C5EFB2-86DF-40EC-B0C2-3944814E5A25}" type="sibTrans" cxnId="{DC830584-AABF-4E5D-B7EB-1B4EBF6C50FD}">
      <dgm:prSet/>
      <dgm:spPr/>
      <dgm:t>
        <a:bodyPr/>
        <a:lstStyle/>
        <a:p>
          <a:endParaRPr lang="en-US"/>
        </a:p>
      </dgm:t>
    </dgm:pt>
    <dgm:pt modelId="{EB8A8D14-505F-4889-930D-3B6D703E8F4E}">
      <dgm:prSet/>
      <dgm:spPr/>
      <dgm:t>
        <a:bodyPr/>
        <a:lstStyle/>
        <a:p>
          <a:r>
            <a:rPr lang="en-US" baseline="0" dirty="0"/>
            <a:t>Provide a name for the new sync member.</a:t>
          </a:r>
          <a:endParaRPr lang="en-US" dirty="0"/>
        </a:p>
      </dgm:t>
    </dgm:pt>
    <dgm:pt modelId="{AED944F8-2FF3-4993-97EE-9D9A145FB133}" type="parTrans" cxnId="{8729070C-F839-4819-A6F9-BCF071516B56}">
      <dgm:prSet/>
      <dgm:spPr/>
      <dgm:t>
        <a:bodyPr/>
        <a:lstStyle/>
        <a:p>
          <a:endParaRPr lang="en-US"/>
        </a:p>
      </dgm:t>
    </dgm:pt>
    <dgm:pt modelId="{493BF746-7E41-4881-87BE-217D6D7BEFE5}" type="sibTrans" cxnId="{8729070C-F839-4819-A6F9-BCF071516B56}">
      <dgm:prSet/>
      <dgm:spPr/>
      <dgm:t>
        <a:bodyPr/>
        <a:lstStyle/>
        <a:p>
          <a:endParaRPr lang="en-US"/>
        </a:p>
      </dgm:t>
    </dgm:pt>
    <dgm:pt modelId="{D4CD42C3-5A56-4F4F-A603-96D387112302}">
      <dgm:prSet/>
      <dgm:spPr/>
      <dgm:t>
        <a:bodyPr/>
        <a:lstStyle/>
        <a:p>
          <a:r>
            <a:rPr lang="en-US" baseline="0"/>
            <a:t>Specify the on-premises agent.</a:t>
          </a:r>
          <a:endParaRPr lang="en-US"/>
        </a:p>
      </dgm:t>
    </dgm:pt>
    <dgm:pt modelId="{E250836A-BA8E-461F-84E5-DC427715A3DD}" type="parTrans" cxnId="{F62EBF79-2D7F-4229-8C24-273D1AE6C576}">
      <dgm:prSet/>
      <dgm:spPr/>
      <dgm:t>
        <a:bodyPr/>
        <a:lstStyle/>
        <a:p>
          <a:endParaRPr lang="en-US"/>
        </a:p>
      </dgm:t>
    </dgm:pt>
    <dgm:pt modelId="{A55AD704-D33F-4B0E-A742-F6A7B3D4C758}" type="sibTrans" cxnId="{F62EBF79-2D7F-4229-8C24-273D1AE6C576}">
      <dgm:prSet/>
      <dgm:spPr/>
      <dgm:t>
        <a:bodyPr/>
        <a:lstStyle/>
        <a:p>
          <a:endParaRPr lang="en-US"/>
        </a:p>
      </dgm:t>
    </dgm:pt>
    <dgm:pt modelId="{6D13D35F-42C1-4310-9754-6A721742C55B}">
      <dgm:prSet/>
      <dgm:spPr/>
      <dgm:t>
        <a:bodyPr/>
        <a:lstStyle/>
        <a:p>
          <a:r>
            <a:rPr lang="en-US" baseline="0"/>
            <a:t>Specify the Sync Directions.</a:t>
          </a:r>
          <a:endParaRPr lang="en-US"/>
        </a:p>
      </dgm:t>
    </dgm:pt>
    <dgm:pt modelId="{A7578081-334E-4182-92EA-02B2D64DE94E}" type="parTrans" cxnId="{71AFC129-399B-45EC-B296-F8B5259A2A2E}">
      <dgm:prSet/>
      <dgm:spPr/>
      <dgm:t>
        <a:bodyPr/>
        <a:lstStyle/>
        <a:p>
          <a:endParaRPr lang="en-US"/>
        </a:p>
      </dgm:t>
    </dgm:pt>
    <dgm:pt modelId="{227ECFEB-F0FF-4AEF-8C66-F9289E8ED6DB}" type="sibTrans" cxnId="{71AFC129-399B-45EC-B296-F8B5259A2A2E}">
      <dgm:prSet/>
      <dgm:spPr/>
      <dgm:t>
        <a:bodyPr/>
        <a:lstStyle/>
        <a:p>
          <a:endParaRPr lang="en-US"/>
        </a:p>
      </dgm:t>
    </dgm:pt>
    <dgm:pt modelId="{058E3B38-67E0-43B7-9504-2BDA01DDF6A3}" type="pres">
      <dgm:prSet presAssocID="{EF3DB68F-3B81-445A-B761-2F06A73021E3}" presName="linear" presStyleCnt="0">
        <dgm:presLayoutVars>
          <dgm:animLvl val="lvl"/>
          <dgm:resizeHandles val="exact"/>
        </dgm:presLayoutVars>
      </dgm:prSet>
      <dgm:spPr/>
    </dgm:pt>
    <dgm:pt modelId="{C9C99F26-B96C-4A14-AB5A-37CF965A5C6C}" type="pres">
      <dgm:prSet presAssocID="{4942D783-FBBC-47C5-9FFC-488F5EDE5E06}" presName="parentText" presStyleLbl="node1" presStyleIdx="0" presStyleCnt="4">
        <dgm:presLayoutVars>
          <dgm:chMax val="0"/>
          <dgm:bulletEnabled val="1"/>
        </dgm:presLayoutVars>
      </dgm:prSet>
      <dgm:spPr/>
    </dgm:pt>
    <dgm:pt modelId="{F71A78B1-8647-4B6C-BD2C-8C6FC1166320}" type="pres">
      <dgm:prSet presAssocID="{12C5EFB2-86DF-40EC-B0C2-3944814E5A25}" presName="spacer" presStyleCnt="0"/>
      <dgm:spPr/>
    </dgm:pt>
    <dgm:pt modelId="{EC0005C1-8F22-4D4F-940A-AE2BE6F11059}" type="pres">
      <dgm:prSet presAssocID="{EB8A8D14-505F-4889-930D-3B6D703E8F4E}" presName="parentText" presStyleLbl="node1" presStyleIdx="1" presStyleCnt="4">
        <dgm:presLayoutVars>
          <dgm:chMax val="0"/>
          <dgm:bulletEnabled val="1"/>
        </dgm:presLayoutVars>
      </dgm:prSet>
      <dgm:spPr/>
    </dgm:pt>
    <dgm:pt modelId="{C74D4C30-EDE9-4B52-A5D6-5C74DB9D3089}" type="pres">
      <dgm:prSet presAssocID="{493BF746-7E41-4881-87BE-217D6D7BEFE5}" presName="spacer" presStyleCnt="0"/>
      <dgm:spPr/>
    </dgm:pt>
    <dgm:pt modelId="{D5946851-9879-4060-B94A-0985DCD7898B}" type="pres">
      <dgm:prSet presAssocID="{D4CD42C3-5A56-4F4F-A603-96D387112302}" presName="parentText" presStyleLbl="node1" presStyleIdx="2" presStyleCnt="4">
        <dgm:presLayoutVars>
          <dgm:chMax val="0"/>
          <dgm:bulletEnabled val="1"/>
        </dgm:presLayoutVars>
      </dgm:prSet>
      <dgm:spPr/>
    </dgm:pt>
    <dgm:pt modelId="{38368534-3ED7-4B6F-804F-6F70EC855F4B}" type="pres">
      <dgm:prSet presAssocID="{A55AD704-D33F-4B0E-A742-F6A7B3D4C758}" presName="spacer" presStyleCnt="0"/>
      <dgm:spPr/>
    </dgm:pt>
    <dgm:pt modelId="{F3933ED3-92CF-4D95-8920-7004DB62532D}" type="pres">
      <dgm:prSet presAssocID="{6D13D35F-42C1-4310-9754-6A721742C55B}" presName="parentText" presStyleLbl="node1" presStyleIdx="3" presStyleCnt="4">
        <dgm:presLayoutVars>
          <dgm:chMax val="0"/>
          <dgm:bulletEnabled val="1"/>
        </dgm:presLayoutVars>
      </dgm:prSet>
      <dgm:spPr/>
    </dgm:pt>
  </dgm:ptLst>
  <dgm:cxnLst>
    <dgm:cxn modelId="{8729070C-F839-4819-A6F9-BCF071516B56}" srcId="{EF3DB68F-3B81-445A-B761-2F06A73021E3}" destId="{EB8A8D14-505F-4889-930D-3B6D703E8F4E}" srcOrd="1" destOrd="0" parTransId="{AED944F8-2FF3-4993-97EE-9D9A145FB133}" sibTransId="{493BF746-7E41-4881-87BE-217D6D7BEFE5}"/>
    <dgm:cxn modelId="{71AFC129-399B-45EC-B296-F8B5259A2A2E}" srcId="{EF3DB68F-3B81-445A-B761-2F06A73021E3}" destId="{6D13D35F-42C1-4310-9754-6A721742C55B}" srcOrd="3" destOrd="0" parTransId="{A7578081-334E-4182-92EA-02B2D64DE94E}" sibTransId="{227ECFEB-F0FF-4AEF-8C66-F9289E8ED6DB}"/>
    <dgm:cxn modelId="{A7B35F4B-A378-4789-8B77-E0835AC9A286}" type="presOf" srcId="{D4CD42C3-5A56-4F4F-A603-96D387112302}" destId="{D5946851-9879-4060-B94A-0985DCD7898B}" srcOrd="0" destOrd="0" presId="urn:microsoft.com/office/officeart/2005/8/layout/vList2"/>
    <dgm:cxn modelId="{F62EBF79-2D7F-4229-8C24-273D1AE6C576}" srcId="{EF3DB68F-3B81-445A-B761-2F06A73021E3}" destId="{D4CD42C3-5A56-4F4F-A603-96D387112302}" srcOrd="2" destOrd="0" parTransId="{E250836A-BA8E-461F-84E5-DC427715A3DD}" sibTransId="{A55AD704-D33F-4B0E-A742-F6A7B3D4C758}"/>
    <dgm:cxn modelId="{DC830584-AABF-4E5D-B7EB-1B4EBF6C50FD}" srcId="{EF3DB68F-3B81-445A-B761-2F06A73021E3}" destId="{4942D783-FBBC-47C5-9FFC-488F5EDE5E06}" srcOrd="0" destOrd="0" parTransId="{8A191115-D677-4B55-84F9-C03CA5231BAB}" sibTransId="{12C5EFB2-86DF-40EC-B0C2-3944814E5A25}"/>
    <dgm:cxn modelId="{AE31A18D-2968-4475-8894-A4DF5B7594A3}" type="presOf" srcId="{4942D783-FBBC-47C5-9FFC-488F5EDE5E06}" destId="{C9C99F26-B96C-4A14-AB5A-37CF965A5C6C}" srcOrd="0" destOrd="0" presId="urn:microsoft.com/office/officeart/2005/8/layout/vList2"/>
    <dgm:cxn modelId="{AAB5AC97-DA14-4C2D-9D1F-02DBF9EC32B0}" type="presOf" srcId="{EB8A8D14-505F-4889-930D-3B6D703E8F4E}" destId="{EC0005C1-8F22-4D4F-940A-AE2BE6F11059}" srcOrd="0" destOrd="0" presId="urn:microsoft.com/office/officeart/2005/8/layout/vList2"/>
    <dgm:cxn modelId="{35DB06B8-7A08-4F8C-8421-1CE9A767956E}" type="presOf" srcId="{EF3DB68F-3B81-445A-B761-2F06A73021E3}" destId="{058E3B38-67E0-43B7-9504-2BDA01DDF6A3}" srcOrd="0" destOrd="0" presId="urn:microsoft.com/office/officeart/2005/8/layout/vList2"/>
    <dgm:cxn modelId="{B62806E6-FF08-4B1A-92CB-F74A16698C59}" type="presOf" srcId="{6D13D35F-42C1-4310-9754-6A721742C55B}" destId="{F3933ED3-92CF-4D95-8920-7004DB62532D}" srcOrd="0" destOrd="0" presId="urn:microsoft.com/office/officeart/2005/8/layout/vList2"/>
    <dgm:cxn modelId="{902DE182-562D-4DB6-89C1-51238628024F}" type="presParOf" srcId="{058E3B38-67E0-43B7-9504-2BDA01DDF6A3}" destId="{C9C99F26-B96C-4A14-AB5A-37CF965A5C6C}" srcOrd="0" destOrd="0" presId="urn:microsoft.com/office/officeart/2005/8/layout/vList2"/>
    <dgm:cxn modelId="{DE6CD7E7-F3CE-4287-8372-D43262E0F057}" type="presParOf" srcId="{058E3B38-67E0-43B7-9504-2BDA01DDF6A3}" destId="{F71A78B1-8647-4B6C-BD2C-8C6FC1166320}" srcOrd="1" destOrd="0" presId="urn:microsoft.com/office/officeart/2005/8/layout/vList2"/>
    <dgm:cxn modelId="{40F69B09-D3EF-4D55-B798-0DB021BB51A9}" type="presParOf" srcId="{058E3B38-67E0-43B7-9504-2BDA01DDF6A3}" destId="{EC0005C1-8F22-4D4F-940A-AE2BE6F11059}" srcOrd="2" destOrd="0" presId="urn:microsoft.com/office/officeart/2005/8/layout/vList2"/>
    <dgm:cxn modelId="{2CF2AFDB-EA12-4BDB-B2B6-39D2B3739937}" type="presParOf" srcId="{058E3B38-67E0-43B7-9504-2BDA01DDF6A3}" destId="{C74D4C30-EDE9-4B52-A5D6-5C74DB9D3089}" srcOrd="3" destOrd="0" presId="urn:microsoft.com/office/officeart/2005/8/layout/vList2"/>
    <dgm:cxn modelId="{BE6C11A7-ECD9-4151-A93A-B494D4133B3C}" type="presParOf" srcId="{058E3B38-67E0-43B7-9504-2BDA01DDF6A3}" destId="{D5946851-9879-4060-B94A-0985DCD7898B}" srcOrd="4" destOrd="0" presId="urn:microsoft.com/office/officeart/2005/8/layout/vList2"/>
    <dgm:cxn modelId="{0661E0B6-7B7E-4E13-96DF-DCFFBE74CBB9}" type="presParOf" srcId="{058E3B38-67E0-43B7-9504-2BDA01DDF6A3}" destId="{38368534-3ED7-4B6F-804F-6F70EC855F4B}" srcOrd="5" destOrd="0" presId="urn:microsoft.com/office/officeart/2005/8/layout/vList2"/>
    <dgm:cxn modelId="{116131FD-10F6-49C6-8991-C605FE32FDE0}" type="presParOf" srcId="{058E3B38-67E0-43B7-9504-2BDA01DDF6A3}" destId="{F3933ED3-92CF-4D95-8920-7004DB62532D}"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80A85C4-C734-40C5-BB6B-F76ADBE56182}"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F714F451-1E87-472A-B78B-0B8A433EDCD0}">
      <dgm:prSet/>
      <dgm:spPr/>
      <dgm:t>
        <a:bodyPr/>
        <a:lstStyle/>
        <a:p>
          <a:r>
            <a:rPr lang="en-US" baseline="0"/>
            <a:t>Select a member database &amp; Refresh Schema.</a:t>
          </a:r>
          <a:endParaRPr lang="en-US"/>
        </a:p>
      </dgm:t>
    </dgm:pt>
    <dgm:pt modelId="{4145E757-01CA-49E6-9594-05E260127CB6}" type="parTrans" cxnId="{16E66702-5CAC-4C6E-9F1F-03A7DB537B0F}">
      <dgm:prSet/>
      <dgm:spPr/>
      <dgm:t>
        <a:bodyPr/>
        <a:lstStyle/>
        <a:p>
          <a:endParaRPr lang="en-US"/>
        </a:p>
      </dgm:t>
    </dgm:pt>
    <dgm:pt modelId="{A6B80998-8135-42F8-A247-78973B135079}" type="sibTrans" cxnId="{16E66702-5CAC-4C6E-9F1F-03A7DB537B0F}">
      <dgm:prSet/>
      <dgm:spPr/>
      <dgm:t>
        <a:bodyPr/>
        <a:lstStyle/>
        <a:p>
          <a:endParaRPr lang="en-US"/>
        </a:p>
      </dgm:t>
    </dgm:pt>
    <dgm:pt modelId="{D956E167-2563-4F74-B138-80BE828E1FD5}">
      <dgm:prSet/>
      <dgm:spPr/>
      <dgm:t>
        <a:bodyPr/>
        <a:lstStyle/>
        <a:p>
          <a:r>
            <a:rPr lang="en-US" baseline="0" dirty="0"/>
            <a:t>Select the tables that you want to sync.</a:t>
          </a:r>
          <a:endParaRPr lang="en-US" dirty="0"/>
        </a:p>
      </dgm:t>
    </dgm:pt>
    <dgm:pt modelId="{DE5FA94C-4625-494F-B783-8646D1A1F769}" type="parTrans" cxnId="{B78D30E4-2FFF-4D24-A19A-1D726402603F}">
      <dgm:prSet/>
      <dgm:spPr/>
      <dgm:t>
        <a:bodyPr/>
        <a:lstStyle/>
        <a:p>
          <a:endParaRPr lang="en-US"/>
        </a:p>
      </dgm:t>
    </dgm:pt>
    <dgm:pt modelId="{935BBE04-E4EB-460A-B445-B7DBA111342D}" type="sibTrans" cxnId="{B78D30E4-2FFF-4D24-A19A-1D726402603F}">
      <dgm:prSet/>
      <dgm:spPr/>
      <dgm:t>
        <a:bodyPr/>
        <a:lstStyle/>
        <a:p>
          <a:endParaRPr lang="en-US"/>
        </a:p>
      </dgm:t>
    </dgm:pt>
    <dgm:pt modelId="{980D33F0-4A5E-4A40-B22E-D69B5A5FEC88}">
      <dgm:prSet/>
      <dgm:spPr/>
      <dgm:t>
        <a:bodyPr/>
        <a:lstStyle/>
        <a:p>
          <a:r>
            <a:rPr lang="en-US" baseline="0"/>
            <a:t>Click Save.</a:t>
          </a:r>
          <a:endParaRPr lang="en-US"/>
        </a:p>
      </dgm:t>
    </dgm:pt>
    <dgm:pt modelId="{4DDD37EB-A724-41EA-A3A6-712FB731B40A}" type="parTrans" cxnId="{8BD4D5D2-197C-461A-8624-A91318B368FE}">
      <dgm:prSet/>
      <dgm:spPr/>
      <dgm:t>
        <a:bodyPr/>
        <a:lstStyle/>
        <a:p>
          <a:endParaRPr lang="en-US"/>
        </a:p>
      </dgm:t>
    </dgm:pt>
    <dgm:pt modelId="{8546A8AE-346A-4381-A9DF-C791E7F691FF}" type="sibTrans" cxnId="{8BD4D5D2-197C-461A-8624-A91318B368FE}">
      <dgm:prSet/>
      <dgm:spPr/>
      <dgm:t>
        <a:bodyPr/>
        <a:lstStyle/>
        <a:p>
          <a:endParaRPr lang="en-US"/>
        </a:p>
      </dgm:t>
    </dgm:pt>
    <dgm:pt modelId="{AC7F73DF-62C7-4708-B84E-47BDAF8FE8DD}" type="pres">
      <dgm:prSet presAssocID="{280A85C4-C734-40C5-BB6B-F76ADBE56182}" presName="linear" presStyleCnt="0">
        <dgm:presLayoutVars>
          <dgm:animLvl val="lvl"/>
          <dgm:resizeHandles val="exact"/>
        </dgm:presLayoutVars>
      </dgm:prSet>
      <dgm:spPr/>
    </dgm:pt>
    <dgm:pt modelId="{B5860A5C-A967-4532-8C17-EE43933208A8}" type="pres">
      <dgm:prSet presAssocID="{F714F451-1E87-472A-B78B-0B8A433EDCD0}" presName="parentText" presStyleLbl="node1" presStyleIdx="0" presStyleCnt="3">
        <dgm:presLayoutVars>
          <dgm:chMax val="0"/>
          <dgm:bulletEnabled val="1"/>
        </dgm:presLayoutVars>
      </dgm:prSet>
      <dgm:spPr/>
    </dgm:pt>
    <dgm:pt modelId="{9FC4B096-819B-4079-A116-9DC97D828C9C}" type="pres">
      <dgm:prSet presAssocID="{A6B80998-8135-42F8-A247-78973B135079}" presName="spacer" presStyleCnt="0"/>
      <dgm:spPr/>
    </dgm:pt>
    <dgm:pt modelId="{8BEC1294-290D-40EE-BC02-2C71CD3C6658}" type="pres">
      <dgm:prSet presAssocID="{D956E167-2563-4F74-B138-80BE828E1FD5}" presName="parentText" presStyleLbl="node1" presStyleIdx="1" presStyleCnt="3">
        <dgm:presLayoutVars>
          <dgm:chMax val="0"/>
          <dgm:bulletEnabled val="1"/>
        </dgm:presLayoutVars>
      </dgm:prSet>
      <dgm:spPr/>
    </dgm:pt>
    <dgm:pt modelId="{88072B84-CD6B-4954-A7AA-CA3C57E92A5A}" type="pres">
      <dgm:prSet presAssocID="{935BBE04-E4EB-460A-B445-B7DBA111342D}" presName="spacer" presStyleCnt="0"/>
      <dgm:spPr/>
    </dgm:pt>
    <dgm:pt modelId="{788569F0-4CB7-444E-BBE4-6B6829661BF9}" type="pres">
      <dgm:prSet presAssocID="{980D33F0-4A5E-4A40-B22E-D69B5A5FEC88}" presName="parentText" presStyleLbl="node1" presStyleIdx="2" presStyleCnt="3">
        <dgm:presLayoutVars>
          <dgm:chMax val="0"/>
          <dgm:bulletEnabled val="1"/>
        </dgm:presLayoutVars>
      </dgm:prSet>
      <dgm:spPr/>
    </dgm:pt>
  </dgm:ptLst>
  <dgm:cxnLst>
    <dgm:cxn modelId="{16E66702-5CAC-4C6E-9F1F-03A7DB537B0F}" srcId="{280A85C4-C734-40C5-BB6B-F76ADBE56182}" destId="{F714F451-1E87-472A-B78B-0B8A433EDCD0}" srcOrd="0" destOrd="0" parTransId="{4145E757-01CA-49E6-9594-05E260127CB6}" sibTransId="{A6B80998-8135-42F8-A247-78973B135079}"/>
    <dgm:cxn modelId="{C7A3EF19-F963-422C-8AAE-87F6254EDEC8}" type="presOf" srcId="{280A85C4-C734-40C5-BB6B-F76ADBE56182}" destId="{AC7F73DF-62C7-4708-B84E-47BDAF8FE8DD}" srcOrd="0" destOrd="0" presId="urn:microsoft.com/office/officeart/2005/8/layout/vList2"/>
    <dgm:cxn modelId="{87C4B544-522B-4244-96A7-9B0FD91113DE}" type="presOf" srcId="{F714F451-1E87-472A-B78B-0B8A433EDCD0}" destId="{B5860A5C-A967-4532-8C17-EE43933208A8}" srcOrd="0" destOrd="0" presId="urn:microsoft.com/office/officeart/2005/8/layout/vList2"/>
    <dgm:cxn modelId="{B543E245-A131-4CF5-8D5E-E863A99BBB57}" type="presOf" srcId="{D956E167-2563-4F74-B138-80BE828E1FD5}" destId="{8BEC1294-290D-40EE-BC02-2C71CD3C6658}" srcOrd="0" destOrd="0" presId="urn:microsoft.com/office/officeart/2005/8/layout/vList2"/>
    <dgm:cxn modelId="{C1C9217B-20F7-49B1-A253-10ACF1AFDA4A}" type="presOf" srcId="{980D33F0-4A5E-4A40-B22E-D69B5A5FEC88}" destId="{788569F0-4CB7-444E-BBE4-6B6829661BF9}" srcOrd="0" destOrd="0" presId="urn:microsoft.com/office/officeart/2005/8/layout/vList2"/>
    <dgm:cxn modelId="{8BD4D5D2-197C-461A-8624-A91318B368FE}" srcId="{280A85C4-C734-40C5-BB6B-F76ADBE56182}" destId="{980D33F0-4A5E-4A40-B22E-D69B5A5FEC88}" srcOrd="2" destOrd="0" parTransId="{4DDD37EB-A724-41EA-A3A6-712FB731B40A}" sibTransId="{8546A8AE-346A-4381-A9DF-C791E7F691FF}"/>
    <dgm:cxn modelId="{B78D30E4-2FFF-4D24-A19A-1D726402603F}" srcId="{280A85C4-C734-40C5-BB6B-F76ADBE56182}" destId="{D956E167-2563-4F74-B138-80BE828E1FD5}" srcOrd="1" destOrd="0" parTransId="{DE5FA94C-4625-494F-B783-8646D1A1F769}" sibTransId="{935BBE04-E4EB-460A-B445-B7DBA111342D}"/>
    <dgm:cxn modelId="{05E09A71-737F-4E75-8704-EDA94D9F40E5}" type="presParOf" srcId="{AC7F73DF-62C7-4708-B84E-47BDAF8FE8DD}" destId="{B5860A5C-A967-4532-8C17-EE43933208A8}" srcOrd="0" destOrd="0" presId="urn:microsoft.com/office/officeart/2005/8/layout/vList2"/>
    <dgm:cxn modelId="{997F1BDA-32A2-4CDE-84E4-CC707D25715E}" type="presParOf" srcId="{AC7F73DF-62C7-4708-B84E-47BDAF8FE8DD}" destId="{9FC4B096-819B-4079-A116-9DC97D828C9C}" srcOrd="1" destOrd="0" presId="urn:microsoft.com/office/officeart/2005/8/layout/vList2"/>
    <dgm:cxn modelId="{5DC3AE9F-C6EA-4332-A27E-15B9D1140AA2}" type="presParOf" srcId="{AC7F73DF-62C7-4708-B84E-47BDAF8FE8DD}" destId="{8BEC1294-290D-40EE-BC02-2C71CD3C6658}" srcOrd="2" destOrd="0" presId="urn:microsoft.com/office/officeart/2005/8/layout/vList2"/>
    <dgm:cxn modelId="{66B9400A-E19F-4A22-8E78-8E12033BA703}" type="presParOf" srcId="{AC7F73DF-62C7-4708-B84E-47BDAF8FE8DD}" destId="{88072B84-CD6B-4954-A7AA-CA3C57E92A5A}" srcOrd="3" destOrd="0" presId="urn:microsoft.com/office/officeart/2005/8/layout/vList2"/>
    <dgm:cxn modelId="{9E5EF870-D14F-42ED-BB5F-6CE87E5E5F53}" type="presParOf" srcId="{AC7F73DF-62C7-4708-B84E-47BDAF8FE8DD}" destId="{788569F0-4CB7-444E-BBE4-6B6829661BF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Which databases are part of a Sync Group?</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t>Which options can you use to resolve Conflicts?</a:t>
          </a:r>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8736F814-977D-4CCE-9992-C3B914C13F04}">
      <dgm:prSet/>
      <dgm:spPr/>
      <dgm:t>
        <a:bodyPr/>
        <a:lstStyle/>
        <a:p>
          <a:pPr>
            <a:buNone/>
          </a:pPr>
          <a:r>
            <a:rPr lang="en-US"/>
            <a:t>What are the three main steps to setup Data Sync?</a:t>
          </a:r>
          <a:endParaRPr lang="en-US" dirty="0"/>
        </a:p>
      </dgm:t>
    </dgm:pt>
    <dgm:pt modelId="{97412106-C7EC-4271-952C-95074BBE0FCE}" type="parTrans" cxnId="{2E316950-FC08-4851-B41D-2BC9C0DCB031}">
      <dgm:prSet/>
      <dgm:spPr/>
    </dgm:pt>
    <dgm:pt modelId="{B6DCF7E9-3131-4990-B746-32067E60D223}" type="sibTrans" cxnId="{2E316950-FC08-4851-B41D-2BC9C0DCB031}">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custLinFactY="-68486" custLinFactNeighborY="-100000">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custLinFactY="-68486" custLinFactNeighborY="-100000">
        <dgm:presLayoutVars>
          <dgm:chMax val="0"/>
          <dgm:bulletEnabled val="1"/>
        </dgm:presLayoutVars>
      </dgm:prSet>
      <dgm:spPr/>
    </dgm:pt>
    <dgm:pt modelId="{90639D1E-E8CF-4051-8E47-19B5F6A39D0B}" type="pres">
      <dgm:prSet presAssocID="{AD379122-9DA8-482B-A8C0-ABBC422BBC25}" presName="spacer" presStyleCnt="0"/>
      <dgm:spPr/>
    </dgm:pt>
    <dgm:pt modelId="{A1544A17-387D-417A-82E0-7180C151B86A}" type="pres">
      <dgm:prSet presAssocID="{8736F814-977D-4CCE-9992-C3B914C13F04}" presName="parentText" presStyleLbl="node1" presStyleIdx="2" presStyleCnt="3" custLinFactY="-68486" custLinFactNeighborY="-100000">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2E316950-FC08-4851-B41D-2BC9C0DCB031}" srcId="{15A7774C-B622-4F48-8F7B-AF1AAB74E997}" destId="{8736F814-977D-4CCE-9992-C3B914C13F04}" srcOrd="2" destOrd="0" parTransId="{97412106-C7EC-4271-952C-95074BBE0FCE}" sibTransId="{B6DCF7E9-3131-4990-B746-32067E60D223}"/>
    <dgm:cxn modelId="{28536D76-F581-4247-8CF1-B2F203C11381}" type="presOf" srcId="{8736F814-977D-4CCE-9992-C3B914C13F04}" destId="{A1544A17-387D-417A-82E0-7180C151B86A}"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F8290ED1-1889-44CB-895A-C0DFACD27154}" type="presParOf" srcId="{97400BD5-14CE-4761-8A6A-64BC46D23158}" destId="{90639D1E-E8CF-4051-8E47-19B5F6A39D0B}" srcOrd="3" destOrd="0" presId="urn:microsoft.com/office/officeart/2005/8/layout/vList2"/>
    <dgm:cxn modelId="{DA65D6C1-7D3D-438A-9DB4-85224FCBBAD9}" type="presParOf" srcId="{97400BD5-14CE-4761-8A6A-64BC46D23158}" destId="{A1544A17-387D-417A-82E0-7180C151B86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4F45458-002D-4744-8F4C-481D116CA5BB}" type="doc">
      <dgm:prSet loTypeId="urn:microsoft.com/office/officeart/2005/8/layout/process5" loCatId="process" qsTypeId="urn:microsoft.com/office/officeart/2005/8/quickstyle/simple1" qsCatId="simple" csTypeId="urn:microsoft.com/office/officeart/2005/8/colors/colorful1" csCatId="colorful"/>
      <dgm:spPr/>
      <dgm:t>
        <a:bodyPr/>
        <a:lstStyle/>
        <a:p>
          <a:endParaRPr lang="en-US"/>
        </a:p>
      </dgm:t>
    </dgm:pt>
    <dgm:pt modelId="{76DCD217-AD7E-4BEF-90F8-C5280C5EAD32}">
      <dgm:prSet/>
      <dgm:spPr/>
      <dgm:t>
        <a:bodyPr/>
        <a:lstStyle/>
        <a:p>
          <a:r>
            <a:rPr lang="en-US"/>
            <a:t>Migration steps</a:t>
          </a:r>
        </a:p>
      </dgm:t>
    </dgm:pt>
    <dgm:pt modelId="{8DCAA72D-036B-495F-9ACA-B11296472FDC}" type="parTrans" cxnId="{D2BBC18F-5185-40A8-B1ED-33BEB83B012F}">
      <dgm:prSet/>
      <dgm:spPr/>
      <dgm:t>
        <a:bodyPr/>
        <a:lstStyle/>
        <a:p>
          <a:endParaRPr lang="en-US"/>
        </a:p>
      </dgm:t>
    </dgm:pt>
    <dgm:pt modelId="{1E815560-DCE0-4E50-8ABE-2D995FF9438A}" type="sibTrans" cxnId="{D2BBC18F-5185-40A8-B1ED-33BEB83B012F}">
      <dgm:prSet/>
      <dgm:spPr/>
      <dgm:t>
        <a:bodyPr/>
        <a:lstStyle/>
        <a:p>
          <a:endParaRPr lang="en-US"/>
        </a:p>
      </dgm:t>
    </dgm:pt>
    <dgm:pt modelId="{9151B651-0A0F-4475-BA67-1B45A792BC9C}">
      <dgm:prSet/>
      <dgm:spPr/>
      <dgm:t>
        <a:bodyPr/>
        <a:lstStyle/>
        <a:p>
          <a:r>
            <a:rPr lang="en-US"/>
            <a:t>Verify your Database for Compatibility Issues</a:t>
          </a:r>
        </a:p>
      </dgm:t>
    </dgm:pt>
    <dgm:pt modelId="{7253BBD5-055B-4A05-BB6B-9CD04145AE46}" type="parTrans" cxnId="{BA045E2A-F363-4193-A499-932941211906}">
      <dgm:prSet/>
      <dgm:spPr/>
      <dgm:t>
        <a:bodyPr/>
        <a:lstStyle/>
        <a:p>
          <a:endParaRPr lang="en-US"/>
        </a:p>
      </dgm:t>
    </dgm:pt>
    <dgm:pt modelId="{C8BF43B7-59A3-49C8-A668-90EFA4EDD01C}" type="sibTrans" cxnId="{BA045E2A-F363-4193-A499-932941211906}">
      <dgm:prSet/>
      <dgm:spPr/>
      <dgm:t>
        <a:bodyPr/>
        <a:lstStyle/>
        <a:p>
          <a:endParaRPr lang="en-US"/>
        </a:p>
      </dgm:t>
    </dgm:pt>
    <dgm:pt modelId="{EED49E10-9C3C-47F6-8D94-789F7A89D66A}">
      <dgm:prSet/>
      <dgm:spPr/>
      <dgm:t>
        <a:bodyPr/>
        <a:lstStyle/>
        <a:p>
          <a:r>
            <a:rPr lang="en-US"/>
            <a:t>Fixing Compatibility Issues</a:t>
          </a:r>
        </a:p>
      </dgm:t>
    </dgm:pt>
    <dgm:pt modelId="{7BE5C9EA-5A32-4992-B64C-ED329D51EDC7}" type="parTrans" cxnId="{B809F4B7-1AA0-4C4D-A18F-21C67498D816}">
      <dgm:prSet/>
      <dgm:spPr/>
      <dgm:t>
        <a:bodyPr/>
        <a:lstStyle/>
        <a:p>
          <a:endParaRPr lang="en-US"/>
        </a:p>
      </dgm:t>
    </dgm:pt>
    <dgm:pt modelId="{1B4FC151-4965-4874-9C73-52BA2A08C184}" type="sibTrans" cxnId="{B809F4B7-1AA0-4C4D-A18F-21C67498D816}">
      <dgm:prSet/>
      <dgm:spPr/>
      <dgm:t>
        <a:bodyPr/>
        <a:lstStyle/>
        <a:p>
          <a:endParaRPr lang="en-US"/>
        </a:p>
      </dgm:t>
    </dgm:pt>
    <dgm:pt modelId="{03CC5309-4582-47C1-BE2A-BFE67D4C53E0}">
      <dgm:prSet/>
      <dgm:spPr/>
      <dgm:t>
        <a:bodyPr/>
        <a:lstStyle/>
        <a:p>
          <a:r>
            <a:rPr lang="en-US"/>
            <a:t>Identify the right Azure SQL Database SKU</a:t>
          </a:r>
        </a:p>
      </dgm:t>
    </dgm:pt>
    <dgm:pt modelId="{2E6BE25D-5CC9-4813-9A09-08429DE4B66D}" type="parTrans" cxnId="{A48A0AFD-D5CD-4EBD-BD65-5C80F8DA19CD}">
      <dgm:prSet/>
      <dgm:spPr/>
      <dgm:t>
        <a:bodyPr/>
        <a:lstStyle/>
        <a:p>
          <a:endParaRPr lang="en-US"/>
        </a:p>
      </dgm:t>
    </dgm:pt>
    <dgm:pt modelId="{97FA650C-F83B-4284-ACA1-66F7A61DF5A6}" type="sibTrans" cxnId="{A48A0AFD-D5CD-4EBD-BD65-5C80F8DA19CD}">
      <dgm:prSet/>
      <dgm:spPr/>
      <dgm:t>
        <a:bodyPr/>
        <a:lstStyle/>
        <a:p>
          <a:endParaRPr lang="en-US"/>
        </a:p>
      </dgm:t>
    </dgm:pt>
    <dgm:pt modelId="{D721FE43-D63A-4747-9FCC-FC739597E425}">
      <dgm:prSet/>
      <dgm:spPr/>
      <dgm:t>
        <a:bodyPr/>
        <a:lstStyle/>
        <a:p>
          <a:r>
            <a:rPr lang="en-US"/>
            <a:t>Migration</a:t>
          </a:r>
        </a:p>
      </dgm:t>
    </dgm:pt>
    <dgm:pt modelId="{AC776494-81F3-4C70-B566-C3C298D4BB01}" type="parTrans" cxnId="{EDE661FD-6078-4A72-BECC-21B1B3B724B1}">
      <dgm:prSet/>
      <dgm:spPr/>
      <dgm:t>
        <a:bodyPr/>
        <a:lstStyle/>
        <a:p>
          <a:endParaRPr lang="en-US"/>
        </a:p>
      </dgm:t>
    </dgm:pt>
    <dgm:pt modelId="{79521E72-3CCA-49D9-AE38-C0B1CEA5D5A4}" type="sibTrans" cxnId="{EDE661FD-6078-4A72-BECC-21B1B3B724B1}">
      <dgm:prSet/>
      <dgm:spPr/>
      <dgm:t>
        <a:bodyPr/>
        <a:lstStyle/>
        <a:p>
          <a:endParaRPr lang="en-US"/>
        </a:p>
      </dgm:t>
    </dgm:pt>
    <dgm:pt modelId="{CA525044-EC23-4713-9CA5-1D7B2DE99BBC}">
      <dgm:prSet/>
      <dgm:spPr/>
      <dgm:t>
        <a:bodyPr/>
        <a:lstStyle/>
        <a:p>
          <a:r>
            <a:rPr lang="en-US"/>
            <a:t>Sync across multiple cloud and on-premises databases</a:t>
          </a:r>
        </a:p>
      </dgm:t>
    </dgm:pt>
    <dgm:pt modelId="{4A616314-5604-446B-918D-91D838CC8958}" type="parTrans" cxnId="{2FBF850C-8856-4E2A-8BDB-E23BB2EDCB12}">
      <dgm:prSet/>
      <dgm:spPr/>
      <dgm:t>
        <a:bodyPr/>
        <a:lstStyle/>
        <a:p>
          <a:endParaRPr lang="en-US"/>
        </a:p>
      </dgm:t>
    </dgm:pt>
    <dgm:pt modelId="{E22BC5B9-CE75-416C-B7B1-3649F55F196D}" type="sibTrans" cxnId="{2FBF850C-8856-4E2A-8BDB-E23BB2EDCB12}">
      <dgm:prSet/>
      <dgm:spPr/>
      <dgm:t>
        <a:bodyPr/>
        <a:lstStyle/>
        <a:p>
          <a:endParaRPr lang="en-US"/>
        </a:p>
      </dgm:t>
    </dgm:pt>
    <dgm:pt modelId="{2849CD89-6255-46A3-A343-9131205646CD}" type="pres">
      <dgm:prSet presAssocID="{C4F45458-002D-4744-8F4C-481D116CA5BB}" presName="diagram" presStyleCnt="0">
        <dgm:presLayoutVars>
          <dgm:dir/>
          <dgm:resizeHandles val="exact"/>
        </dgm:presLayoutVars>
      </dgm:prSet>
      <dgm:spPr/>
    </dgm:pt>
    <dgm:pt modelId="{4E73D8FE-C57C-4F85-B157-2B3DD75AC580}" type="pres">
      <dgm:prSet presAssocID="{76DCD217-AD7E-4BEF-90F8-C5280C5EAD32}" presName="node" presStyleLbl="node1" presStyleIdx="0" presStyleCnt="6">
        <dgm:presLayoutVars>
          <dgm:bulletEnabled val="1"/>
        </dgm:presLayoutVars>
      </dgm:prSet>
      <dgm:spPr/>
    </dgm:pt>
    <dgm:pt modelId="{F3C025D7-2943-4A7C-BB05-603EE4EDEF39}" type="pres">
      <dgm:prSet presAssocID="{1E815560-DCE0-4E50-8ABE-2D995FF9438A}" presName="sibTrans" presStyleLbl="sibTrans2D1" presStyleIdx="0" presStyleCnt="5"/>
      <dgm:spPr/>
    </dgm:pt>
    <dgm:pt modelId="{8DFBFB86-3470-4AE7-ABEB-7D11678EE510}" type="pres">
      <dgm:prSet presAssocID="{1E815560-DCE0-4E50-8ABE-2D995FF9438A}" presName="connectorText" presStyleLbl="sibTrans2D1" presStyleIdx="0" presStyleCnt="5"/>
      <dgm:spPr/>
    </dgm:pt>
    <dgm:pt modelId="{F85B7ED1-D915-49DF-8BE7-ECED0BAF6A3A}" type="pres">
      <dgm:prSet presAssocID="{9151B651-0A0F-4475-BA67-1B45A792BC9C}" presName="node" presStyleLbl="node1" presStyleIdx="1" presStyleCnt="6">
        <dgm:presLayoutVars>
          <dgm:bulletEnabled val="1"/>
        </dgm:presLayoutVars>
      </dgm:prSet>
      <dgm:spPr/>
    </dgm:pt>
    <dgm:pt modelId="{AA829AE2-3BC8-401A-977F-8D2A5039734F}" type="pres">
      <dgm:prSet presAssocID="{C8BF43B7-59A3-49C8-A668-90EFA4EDD01C}" presName="sibTrans" presStyleLbl="sibTrans2D1" presStyleIdx="1" presStyleCnt="5"/>
      <dgm:spPr/>
    </dgm:pt>
    <dgm:pt modelId="{ED3053FD-9B19-43EB-A22B-974028A70D06}" type="pres">
      <dgm:prSet presAssocID="{C8BF43B7-59A3-49C8-A668-90EFA4EDD01C}" presName="connectorText" presStyleLbl="sibTrans2D1" presStyleIdx="1" presStyleCnt="5"/>
      <dgm:spPr/>
    </dgm:pt>
    <dgm:pt modelId="{7BDAB71C-E074-43E0-ADB6-AE1A937315D0}" type="pres">
      <dgm:prSet presAssocID="{EED49E10-9C3C-47F6-8D94-789F7A89D66A}" presName="node" presStyleLbl="node1" presStyleIdx="2" presStyleCnt="6">
        <dgm:presLayoutVars>
          <dgm:bulletEnabled val="1"/>
        </dgm:presLayoutVars>
      </dgm:prSet>
      <dgm:spPr/>
    </dgm:pt>
    <dgm:pt modelId="{5117DD99-E94A-45B4-A245-62024F6E5CFE}" type="pres">
      <dgm:prSet presAssocID="{1B4FC151-4965-4874-9C73-52BA2A08C184}" presName="sibTrans" presStyleLbl="sibTrans2D1" presStyleIdx="2" presStyleCnt="5"/>
      <dgm:spPr/>
    </dgm:pt>
    <dgm:pt modelId="{220E452F-113F-40A5-9629-68B703F69295}" type="pres">
      <dgm:prSet presAssocID="{1B4FC151-4965-4874-9C73-52BA2A08C184}" presName="connectorText" presStyleLbl="sibTrans2D1" presStyleIdx="2" presStyleCnt="5"/>
      <dgm:spPr/>
    </dgm:pt>
    <dgm:pt modelId="{68C77D06-B0D6-4EDC-9404-24BB61588442}" type="pres">
      <dgm:prSet presAssocID="{03CC5309-4582-47C1-BE2A-BFE67D4C53E0}" presName="node" presStyleLbl="node1" presStyleIdx="3" presStyleCnt="6">
        <dgm:presLayoutVars>
          <dgm:bulletEnabled val="1"/>
        </dgm:presLayoutVars>
      </dgm:prSet>
      <dgm:spPr/>
    </dgm:pt>
    <dgm:pt modelId="{84F7203B-C1BB-4860-9082-1E4C44955C48}" type="pres">
      <dgm:prSet presAssocID="{97FA650C-F83B-4284-ACA1-66F7A61DF5A6}" presName="sibTrans" presStyleLbl="sibTrans2D1" presStyleIdx="3" presStyleCnt="5"/>
      <dgm:spPr/>
    </dgm:pt>
    <dgm:pt modelId="{4D181042-F99B-4C04-8AAF-E2EDE0AB7A7F}" type="pres">
      <dgm:prSet presAssocID="{97FA650C-F83B-4284-ACA1-66F7A61DF5A6}" presName="connectorText" presStyleLbl="sibTrans2D1" presStyleIdx="3" presStyleCnt="5"/>
      <dgm:spPr/>
    </dgm:pt>
    <dgm:pt modelId="{D48E2FCE-D58B-47E5-B3D3-12B67B8328E3}" type="pres">
      <dgm:prSet presAssocID="{D721FE43-D63A-4747-9FCC-FC739597E425}" presName="node" presStyleLbl="node1" presStyleIdx="4" presStyleCnt="6">
        <dgm:presLayoutVars>
          <dgm:bulletEnabled val="1"/>
        </dgm:presLayoutVars>
      </dgm:prSet>
      <dgm:spPr/>
    </dgm:pt>
    <dgm:pt modelId="{5553E100-619D-42B4-86CC-867B5C4DCCC1}" type="pres">
      <dgm:prSet presAssocID="{79521E72-3CCA-49D9-AE38-C0B1CEA5D5A4}" presName="sibTrans" presStyleLbl="sibTrans2D1" presStyleIdx="4" presStyleCnt="5"/>
      <dgm:spPr/>
    </dgm:pt>
    <dgm:pt modelId="{D5877A52-DC97-4EE5-9FA5-FE8D16A693C9}" type="pres">
      <dgm:prSet presAssocID="{79521E72-3CCA-49D9-AE38-C0B1CEA5D5A4}" presName="connectorText" presStyleLbl="sibTrans2D1" presStyleIdx="4" presStyleCnt="5"/>
      <dgm:spPr/>
    </dgm:pt>
    <dgm:pt modelId="{F6F829BE-64A3-4E65-A9AD-7FAE0FF8E071}" type="pres">
      <dgm:prSet presAssocID="{CA525044-EC23-4713-9CA5-1D7B2DE99BBC}" presName="node" presStyleLbl="node1" presStyleIdx="5" presStyleCnt="6">
        <dgm:presLayoutVars>
          <dgm:bulletEnabled val="1"/>
        </dgm:presLayoutVars>
      </dgm:prSet>
      <dgm:spPr/>
    </dgm:pt>
  </dgm:ptLst>
  <dgm:cxnLst>
    <dgm:cxn modelId="{6A711901-8F54-491F-9834-D1DF779092AA}" type="presOf" srcId="{C4F45458-002D-4744-8F4C-481D116CA5BB}" destId="{2849CD89-6255-46A3-A343-9131205646CD}" srcOrd="0" destOrd="0" presId="urn:microsoft.com/office/officeart/2005/8/layout/process5"/>
    <dgm:cxn modelId="{4F952003-4755-4EB7-A9BE-DAA6717A779F}" type="presOf" srcId="{79521E72-3CCA-49D9-AE38-C0B1CEA5D5A4}" destId="{D5877A52-DC97-4EE5-9FA5-FE8D16A693C9}" srcOrd="1" destOrd="0" presId="urn:microsoft.com/office/officeart/2005/8/layout/process5"/>
    <dgm:cxn modelId="{8DA27E0A-0FE0-4231-B132-42AC6D53415C}" type="presOf" srcId="{97FA650C-F83B-4284-ACA1-66F7A61DF5A6}" destId="{4D181042-F99B-4C04-8AAF-E2EDE0AB7A7F}" srcOrd="1" destOrd="0" presId="urn:microsoft.com/office/officeart/2005/8/layout/process5"/>
    <dgm:cxn modelId="{EC14CB0B-8CF3-4459-89D3-3A1E50503E08}" type="presOf" srcId="{9151B651-0A0F-4475-BA67-1B45A792BC9C}" destId="{F85B7ED1-D915-49DF-8BE7-ECED0BAF6A3A}" srcOrd="0" destOrd="0" presId="urn:microsoft.com/office/officeart/2005/8/layout/process5"/>
    <dgm:cxn modelId="{EA04390C-D292-48F8-9046-B0EBCE0091F1}" type="presOf" srcId="{1B4FC151-4965-4874-9C73-52BA2A08C184}" destId="{5117DD99-E94A-45B4-A245-62024F6E5CFE}" srcOrd="0" destOrd="0" presId="urn:microsoft.com/office/officeart/2005/8/layout/process5"/>
    <dgm:cxn modelId="{2FBF850C-8856-4E2A-8BDB-E23BB2EDCB12}" srcId="{C4F45458-002D-4744-8F4C-481D116CA5BB}" destId="{CA525044-EC23-4713-9CA5-1D7B2DE99BBC}" srcOrd="5" destOrd="0" parTransId="{4A616314-5604-446B-918D-91D838CC8958}" sibTransId="{E22BC5B9-CE75-416C-B7B1-3649F55F196D}"/>
    <dgm:cxn modelId="{4EE5F614-B2BF-4E75-BEDA-2600A11A6608}" type="presOf" srcId="{C8BF43B7-59A3-49C8-A668-90EFA4EDD01C}" destId="{ED3053FD-9B19-43EB-A22B-974028A70D06}" srcOrd="1" destOrd="0" presId="urn:microsoft.com/office/officeart/2005/8/layout/process5"/>
    <dgm:cxn modelId="{BA045E2A-F363-4193-A499-932941211906}" srcId="{C4F45458-002D-4744-8F4C-481D116CA5BB}" destId="{9151B651-0A0F-4475-BA67-1B45A792BC9C}" srcOrd="1" destOrd="0" parTransId="{7253BBD5-055B-4A05-BB6B-9CD04145AE46}" sibTransId="{C8BF43B7-59A3-49C8-A668-90EFA4EDD01C}"/>
    <dgm:cxn modelId="{1DD0232B-CF51-4AFF-9A47-1E23B98B0069}" type="presOf" srcId="{03CC5309-4582-47C1-BE2A-BFE67D4C53E0}" destId="{68C77D06-B0D6-4EDC-9404-24BB61588442}" srcOrd="0" destOrd="0" presId="urn:microsoft.com/office/officeart/2005/8/layout/process5"/>
    <dgm:cxn modelId="{219B7832-A2C9-4DDF-AFE0-75222FD6F9F9}" type="presOf" srcId="{EED49E10-9C3C-47F6-8D94-789F7A89D66A}" destId="{7BDAB71C-E074-43E0-ADB6-AE1A937315D0}" srcOrd="0" destOrd="0" presId="urn:microsoft.com/office/officeart/2005/8/layout/process5"/>
    <dgm:cxn modelId="{91338B69-31D2-41F9-B22C-DFC397FBF39C}" type="presOf" srcId="{D721FE43-D63A-4747-9FCC-FC739597E425}" destId="{D48E2FCE-D58B-47E5-B3D3-12B67B8328E3}" srcOrd="0" destOrd="0" presId="urn:microsoft.com/office/officeart/2005/8/layout/process5"/>
    <dgm:cxn modelId="{66F21252-BB23-445A-B26C-41E9F89064E0}" type="presOf" srcId="{97FA650C-F83B-4284-ACA1-66F7A61DF5A6}" destId="{84F7203B-C1BB-4860-9082-1E4C44955C48}" srcOrd="0" destOrd="0" presId="urn:microsoft.com/office/officeart/2005/8/layout/process5"/>
    <dgm:cxn modelId="{0A77BE74-CAF8-4658-A476-BE7027EFD816}" type="presOf" srcId="{79521E72-3CCA-49D9-AE38-C0B1CEA5D5A4}" destId="{5553E100-619D-42B4-86CC-867B5C4DCCC1}" srcOrd="0" destOrd="0" presId="urn:microsoft.com/office/officeart/2005/8/layout/process5"/>
    <dgm:cxn modelId="{50DF4F59-1852-4E9C-9382-CA16BAA62B5B}" type="presOf" srcId="{CA525044-EC23-4713-9CA5-1D7B2DE99BBC}" destId="{F6F829BE-64A3-4E65-A9AD-7FAE0FF8E071}" srcOrd="0" destOrd="0" presId="urn:microsoft.com/office/officeart/2005/8/layout/process5"/>
    <dgm:cxn modelId="{8DD9517B-7161-4EF6-B296-EEDEFD01B9C1}" type="presOf" srcId="{1E815560-DCE0-4E50-8ABE-2D995FF9438A}" destId="{F3C025D7-2943-4A7C-BB05-603EE4EDEF39}" srcOrd="0" destOrd="0" presId="urn:microsoft.com/office/officeart/2005/8/layout/process5"/>
    <dgm:cxn modelId="{D2BBC18F-5185-40A8-B1ED-33BEB83B012F}" srcId="{C4F45458-002D-4744-8F4C-481D116CA5BB}" destId="{76DCD217-AD7E-4BEF-90F8-C5280C5EAD32}" srcOrd="0" destOrd="0" parTransId="{8DCAA72D-036B-495F-9ACA-B11296472FDC}" sibTransId="{1E815560-DCE0-4E50-8ABE-2D995FF9438A}"/>
    <dgm:cxn modelId="{E61E5EA7-8082-446E-9CDD-2DC459398064}" type="presOf" srcId="{C8BF43B7-59A3-49C8-A668-90EFA4EDD01C}" destId="{AA829AE2-3BC8-401A-977F-8D2A5039734F}" srcOrd="0" destOrd="0" presId="urn:microsoft.com/office/officeart/2005/8/layout/process5"/>
    <dgm:cxn modelId="{B809F4B7-1AA0-4C4D-A18F-21C67498D816}" srcId="{C4F45458-002D-4744-8F4C-481D116CA5BB}" destId="{EED49E10-9C3C-47F6-8D94-789F7A89D66A}" srcOrd="2" destOrd="0" parTransId="{7BE5C9EA-5A32-4992-B64C-ED329D51EDC7}" sibTransId="{1B4FC151-4965-4874-9C73-52BA2A08C184}"/>
    <dgm:cxn modelId="{D5A8BDD5-94DD-4A8A-BA60-45BED3092538}" type="presOf" srcId="{76DCD217-AD7E-4BEF-90F8-C5280C5EAD32}" destId="{4E73D8FE-C57C-4F85-B157-2B3DD75AC580}" srcOrd="0" destOrd="0" presId="urn:microsoft.com/office/officeart/2005/8/layout/process5"/>
    <dgm:cxn modelId="{834F66DA-8340-424B-A46B-E2D6E3B5C20B}" type="presOf" srcId="{1E815560-DCE0-4E50-8ABE-2D995FF9438A}" destId="{8DFBFB86-3470-4AE7-ABEB-7D11678EE510}" srcOrd="1" destOrd="0" presId="urn:microsoft.com/office/officeart/2005/8/layout/process5"/>
    <dgm:cxn modelId="{25EA18F1-AE4B-4419-B68A-1BAA21D393C5}" type="presOf" srcId="{1B4FC151-4965-4874-9C73-52BA2A08C184}" destId="{220E452F-113F-40A5-9629-68B703F69295}" srcOrd="1" destOrd="0" presId="urn:microsoft.com/office/officeart/2005/8/layout/process5"/>
    <dgm:cxn modelId="{A48A0AFD-D5CD-4EBD-BD65-5C80F8DA19CD}" srcId="{C4F45458-002D-4744-8F4C-481D116CA5BB}" destId="{03CC5309-4582-47C1-BE2A-BFE67D4C53E0}" srcOrd="3" destOrd="0" parTransId="{2E6BE25D-5CC9-4813-9A09-08429DE4B66D}" sibTransId="{97FA650C-F83B-4284-ACA1-66F7A61DF5A6}"/>
    <dgm:cxn modelId="{EDE661FD-6078-4A72-BECC-21B1B3B724B1}" srcId="{C4F45458-002D-4744-8F4C-481D116CA5BB}" destId="{D721FE43-D63A-4747-9FCC-FC739597E425}" srcOrd="4" destOrd="0" parTransId="{AC776494-81F3-4C70-B566-C3C298D4BB01}" sibTransId="{79521E72-3CCA-49D9-AE38-C0B1CEA5D5A4}"/>
    <dgm:cxn modelId="{450A0695-06F0-45CA-BD75-F283526DF11A}" type="presParOf" srcId="{2849CD89-6255-46A3-A343-9131205646CD}" destId="{4E73D8FE-C57C-4F85-B157-2B3DD75AC580}" srcOrd="0" destOrd="0" presId="urn:microsoft.com/office/officeart/2005/8/layout/process5"/>
    <dgm:cxn modelId="{B2B1B3F1-14A7-4314-8701-9B304E1B701D}" type="presParOf" srcId="{2849CD89-6255-46A3-A343-9131205646CD}" destId="{F3C025D7-2943-4A7C-BB05-603EE4EDEF39}" srcOrd="1" destOrd="0" presId="urn:microsoft.com/office/officeart/2005/8/layout/process5"/>
    <dgm:cxn modelId="{2F4A3E87-D0EF-49DA-A587-807A99542F48}" type="presParOf" srcId="{F3C025D7-2943-4A7C-BB05-603EE4EDEF39}" destId="{8DFBFB86-3470-4AE7-ABEB-7D11678EE510}" srcOrd="0" destOrd="0" presId="urn:microsoft.com/office/officeart/2005/8/layout/process5"/>
    <dgm:cxn modelId="{3CB68F28-B92A-4472-BC1F-A656AA451338}" type="presParOf" srcId="{2849CD89-6255-46A3-A343-9131205646CD}" destId="{F85B7ED1-D915-49DF-8BE7-ECED0BAF6A3A}" srcOrd="2" destOrd="0" presId="urn:microsoft.com/office/officeart/2005/8/layout/process5"/>
    <dgm:cxn modelId="{F0A499DF-CEBC-4A27-8B86-2D94DD1682D9}" type="presParOf" srcId="{2849CD89-6255-46A3-A343-9131205646CD}" destId="{AA829AE2-3BC8-401A-977F-8D2A5039734F}" srcOrd="3" destOrd="0" presId="urn:microsoft.com/office/officeart/2005/8/layout/process5"/>
    <dgm:cxn modelId="{EE2FE3A4-FEA6-406A-98FD-BB7C4E24A8D1}" type="presParOf" srcId="{AA829AE2-3BC8-401A-977F-8D2A5039734F}" destId="{ED3053FD-9B19-43EB-A22B-974028A70D06}" srcOrd="0" destOrd="0" presId="urn:microsoft.com/office/officeart/2005/8/layout/process5"/>
    <dgm:cxn modelId="{C38E5FA8-8F8F-41AD-B11A-C51A1EAE1236}" type="presParOf" srcId="{2849CD89-6255-46A3-A343-9131205646CD}" destId="{7BDAB71C-E074-43E0-ADB6-AE1A937315D0}" srcOrd="4" destOrd="0" presId="urn:microsoft.com/office/officeart/2005/8/layout/process5"/>
    <dgm:cxn modelId="{35F698DD-753D-45EA-87E6-21FE2D588348}" type="presParOf" srcId="{2849CD89-6255-46A3-A343-9131205646CD}" destId="{5117DD99-E94A-45B4-A245-62024F6E5CFE}" srcOrd="5" destOrd="0" presId="urn:microsoft.com/office/officeart/2005/8/layout/process5"/>
    <dgm:cxn modelId="{DDBF8DCE-1AE0-4F39-B1B5-5E460D22ACFD}" type="presParOf" srcId="{5117DD99-E94A-45B4-A245-62024F6E5CFE}" destId="{220E452F-113F-40A5-9629-68B703F69295}" srcOrd="0" destOrd="0" presId="urn:microsoft.com/office/officeart/2005/8/layout/process5"/>
    <dgm:cxn modelId="{4526A83A-D3C3-4273-8619-849EB8E9D20C}" type="presParOf" srcId="{2849CD89-6255-46A3-A343-9131205646CD}" destId="{68C77D06-B0D6-4EDC-9404-24BB61588442}" srcOrd="6" destOrd="0" presId="urn:microsoft.com/office/officeart/2005/8/layout/process5"/>
    <dgm:cxn modelId="{368EFCBE-E325-4788-8342-A2B3CAF78EED}" type="presParOf" srcId="{2849CD89-6255-46A3-A343-9131205646CD}" destId="{84F7203B-C1BB-4860-9082-1E4C44955C48}" srcOrd="7" destOrd="0" presId="urn:microsoft.com/office/officeart/2005/8/layout/process5"/>
    <dgm:cxn modelId="{FCBEB165-99BC-4029-8FA3-F73809285C53}" type="presParOf" srcId="{84F7203B-C1BB-4860-9082-1E4C44955C48}" destId="{4D181042-F99B-4C04-8AAF-E2EDE0AB7A7F}" srcOrd="0" destOrd="0" presId="urn:microsoft.com/office/officeart/2005/8/layout/process5"/>
    <dgm:cxn modelId="{AF74AD03-AE83-4CA8-9759-7841FFE52663}" type="presParOf" srcId="{2849CD89-6255-46A3-A343-9131205646CD}" destId="{D48E2FCE-D58B-47E5-B3D3-12B67B8328E3}" srcOrd="8" destOrd="0" presId="urn:microsoft.com/office/officeart/2005/8/layout/process5"/>
    <dgm:cxn modelId="{BCB103F6-B08D-43A2-BE0C-41D454AFAFD4}" type="presParOf" srcId="{2849CD89-6255-46A3-A343-9131205646CD}" destId="{5553E100-619D-42B4-86CC-867B5C4DCCC1}" srcOrd="9" destOrd="0" presId="urn:microsoft.com/office/officeart/2005/8/layout/process5"/>
    <dgm:cxn modelId="{E47442C7-5066-439A-8427-540B46E9F966}" type="presParOf" srcId="{5553E100-619D-42B4-86CC-867B5C4DCCC1}" destId="{D5877A52-DC97-4EE5-9FA5-FE8D16A693C9}" srcOrd="0" destOrd="0" presId="urn:microsoft.com/office/officeart/2005/8/layout/process5"/>
    <dgm:cxn modelId="{FAC87A78-FC9D-4C1E-A0CF-CF7BF0B4A67B}" type="presParOf" srcId="{2849CD89-6255-46A3-A343-9131205646CD}" destId="{F6F829BE-64A3-4E65-A9AD-7FAE0FF8E071}" srcOrd="1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759892-22C4-4E0B-ACB3-C13A1235348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D93953F-DBCD-4D5C-8319-446C7532C19C}">
      <dgm:prSet phldrT="[Text]" custT="1"/>
      <dgm:spPr>
        <a:xfrm>
          <a:off x="555863" y="73045"/>
          <a:ext cx="10136249" cy="560880"/>
        </a:xfrm>
      </dgm:spPr>
      <dgm:t>
        <a:bodyPr/>
        <a:lstStyle/>
        <a:p>
          <a:pPr>
            <a:buNone/>
          </a:pPr>
          <a:r>
            <a:rPr lang="en-US" sz="1800" dirty="0">
              <a:latin typeface="Segoe UI"/>
              <a:ea typeface="+mn-ea"/>
              <a:cs typeface="+mn-cs"/>
            </a:rPr>
            <a:t>Compatibility issues must be fixed before proceeding with the SQL Server Database migration.</a:t>
          </a:r>
        </a:p>
      </dgm:t>
    </dgm:pt>
    <dgm:pt modelId="{B2E473EE-07C0-42BC-BE08-522908ED46E0}" type="parTrans" cxnId="{2EB1F2D0-9449-4B28-B25C-013EC60FF77A}">
      <dgm:prSet/>
      <dgm:spPr/>
      <dgm:t>
        <a:bodyPr/>
        <a:lstStyle/>
        <a:p>
          <a:endParaRPr lang="en-US"/>
        </a:p>
      </dgm:t>
    </dgm:pt>
    <dgm:pt modelId="{A787DEA7-45C3-43EB-8A81-BB8ADB357FA2}" type="sibTrans" cxnId="{2EB1F2D0-9449-4B28-B25C-013EC60FF77A}">
      <dgm:prSet/>
      <dgm:spPr/>
      <dgm:t>
        <a:bodyPr/>
        <a:lstStyle/>
        <a:p>
          <a:endParaRPr lang="en-US"/>
        </a:p>
      </dgm:t>
    </dgm:pt>
    <dgm:pt modelId="{9C77ABFA-0CBE-48E9-A42F-941840E8966E}">
      <dgm:prSet custT="1"/>
      <dgm:spPr>
        <a:xfrm>
          <a:off x="555863" y="934885"/>
          <a:ext cx="10136249" cy="560880"/>
        </a:xfrm>
      </dgm:spPr>
      <dgm:t>
        <a:bodyPr/>
        <a:lstStyle/>
        <a:p>
          <a:pPr>
            <a:buNone/>
          </a:pPr>
          <a:r>
            <a:rPr lang="en-US" sz="1800">
              <a:latin typeface="Segoe UI"/>
              <a:ea typeface="+mn-ea"/>
              <a:cs typeface="+mn-cs"/>
            </a:rPr>
            <a:t>You can use DMA + Extended Events to evaluate any ad hoc or dynamic SQL queries or any DML statements initiated through the application data layer.</a:t>
          </a:r>
          <a:endParaRPr lang="en-US" sz="1800" dirty="0">
            <a:latin typeface="Segoe UI"/>
            <a:ea typeface="+mn-ea"/>
            <a:cs typeface="+mn-cs"/>
          </a:endParaRPr>
        </a:p>
      </dgm:t>
    </dgm:pt>
    <dgm:pt modelId="{F1794985-EBFE-4B7C-A04C-D3FF55A572A9}" type="parTrans" cxnId="{57D0EBEC-CFBC-463D-87C2-96B4C265A219}">
      <dgm:prSet/>
      <dgm:spPr/>
      <dgm:t>
        <a:bodyPr/>
        <a:lstStyle/>
        <a:p>
          <a:endParaRPr lang="en-US"/>
        </a:p>
      </dgm:t>
    </dgm:pt>
    <dgm:pt modelId="{0089CD1B-63F0-407B-8B34-9028A6DB359E}" type="sibTrans" cxnId="{57D0EBEC-CFBC-463D-87C2-96B4C265A219}">
      <dgm:prSet/>
      <dgm:spPr/>
      <dgm:t>
        <a:bodyPr/>
        <a:lstStyle/>
        <a:p>
          <a:endParaRPr lang="en-US"/>
        </a:p>
      </dgm:t>
    </dgm:pt>
    <dgm:pt modelId="{FE919866-E25F-47AE-9A95-A8CEEEAF32F4}">
      <dgm:prSet custT="1"/>
      <dgm:spPr>
        <a:xfrm>
          <a:off x="555863" y="2658565"/>
          <a:ext cx="10136249" cy="560880"/>
        </a:xfrm>
      </dgm:spPr>
      <dgm:t>
        <a:bodyPr/>
        <a:lstStyle/>
        <a:p>
          <a:pPr>
            <a:buNone/>
          </a:pPr>
          <a:r>
            <a:rPr lang="en-US" sz="1800">
              <a:latin typeface="Segoe UI"/>
              <a:ea typeface="+mn-ea"/>
              <a:cs typeface="+mn-cs"/>
            </a:rPr>
            <a:t>Use the following resources:</a:t>
          </a:r>
          <a:endParaRPr lang="en-US" sz="1800" dirty="0">
            <a:latin typeface="Segoe UI"/>
            <a:ea typeface="+mn-ea"/>
            <a:cs typeface="+mn-cs"/>
          </a:endParaRPr>
        </a:p>
      </dgm:t>
    </dgm:pt>
    <dgm:pt modelId="{312D7224-0F25-448C-8D51-8E74F02BE1E1}" type="parTrans" cxnId="{6D706588-B55B-43C8-B54D-9CDC095CB660}">
      <dgm:prSet/>
      <dgm:spPr/>
      <dgm:t>
        <a:bodyPr/>
        <a:lstStyle/>
        <a:p>
          <a:endParaRPr lang="en-US"/>
        </a:p>
      </dgm:t>
    </dgm:pt>
    <dgm:pt modelId="{2E878253-0481-4060-BA06-92D8895C75FF}" type="sibTrans" cxnId="{6D706588-B55B-43C8-B54D-9CDC095CB660}">
      <dgm:prSet/>
      <dgm:spPr/>
      <dgm:t>
        <a:bodyPr/>
        <a:lstStyle/>
        <a:p>
          <a:endParaRPr lang="en-US"/>
        </a:p>
      </dgm:t>
    </dgm:pt>
    <dgm:pt modelId="{08BA27B1-AEA4-48B5-9EF1-111E39787260}">
      <dgm:prSet custT="1"/>
      <dgm:spPr>
        <a:xfrm>
          <a:off x="555863" y="1796725"/>
          <a:ext cx="10136249" cy="560880"/>
        </a:xfrm>
      </dgm:spPr>
      <dgm:t>
        <a:bodyPr/>
        <a:lstStyle/>
        <a:p>
          <a:pPr>
            <a:buNone/>
          </a:pPr>
          <a:r>
            <a:rPr lang="en-US" sz="1800">
              <a:latin typeface="Segoe UI"/>
              <a:ea typeface="+mn-ea"/>
              <a:cs typeface="+mn-cs"/>
            </a:rPr>
            <a:t>A wide variety of compatibility issues.</a:t>
          </a:r>
          <a:endParaRPr lang="en-US" sz="1800" dirty="0">
            <a:latin typeface="Segoe UI"/>
            <a:ea typeface="+mn-ea"/>
            <a:cs typeface="+mn-cs"/>
          </a:endParaRPr>
        </a:p>
      </dgm:t>
    </dgm:pt>
    <dgm:pt modelId="{FC2E9DDB-6258-40E1-9AB5-5D32C6EB1702}" type="parTrans" cxnId="{45D18308-1D0C-41DD-BA27-C6FE2152A3EC}">
      <dgm:prSet/>
      <dgm:spPr/>
      <dgm:t>
        <a:bodyPr/>
        <a:lstStyle/>
        <a:p>
          <a:endParaRPr lang="en-US"/>
        </a:p>
      </dgm:t>
    </dgm:pt>
    <dgm:pt modelId="{A2E4E776-0F77-4070-80CC-FD44B291DCA3}" type="sibTrans" cxnId="{45D18308-1D0C-41DD-BA27-C6FE2152A3EC}">
      <dgm:prSet/>
      <dgm:spPr/>
      <dgm:t>
        <a:bodyPr/>
        <a:lstStyle/>
        <a:p>
          <a:endParaRPr lang="en-US"/>
        </a:p>
      </dgm:t>
    </dgm:pt>
    <dgm:pt modelId="{9FC75D09-1A5D-4426-B980-23C051852D28}">
      <dgm:prSet custT="1"/>
      <dgm:spPr>
        <a:xfrm>
          <a:off x="0" y="2939005"/>
          <a:ext cx="11117271" cy="2214450"/>
        </a:xfrm>
      </dgm:spPr>
      <dgm:t>
        <a:bodyPr/>
        <a:lstStyle/>
        <a:p>
          <a:pPr>
            <a:buFont typeface="Arial" pitchFamily="34" charset="0"/>
            <a:buChar char="•"/>
          </a:pPr>
          <a:r>
            <a:rPr lang="en-US" sz="1400" u="sng">
              <a:latin typeface="Segoe UI"/>
              <a:ea typeface="+mn-ea"/>
              <a:cs typeface="+mn-cs"/>
              <a:hlinkClick xmlns:r="http://schemas.openxmlformats.org/officeDocument/2006/relationships" r:id="rId1"/>
            </a:rPr>
            <a:t>SQL Server </a:t>
          </a:r>
          <a:r>
            <a:rPr lang="en-US" sz="1400">
              <a:latin typeface="Segoe UI"/>
              <a:ea typeface="+mn-ea"/>
              <a:cs typeface="+mn-cs"/>
              <a:hlinkClick xmlns:r="http://schemas.openxmlformats.org/officeDocument/2006/relationships" r:id="rId1"/>
            </a:rPr>
            <a:t>database features </a:t>
          </a:r>
          <a:r>
            <a:rPr lang="en-US" sz="1400" u="sng">
              <a:latin typeface="Segoe UI"/>
              <a:ea typeface="+mn-ea"/>
              <a:cs typeface="+mn-cs"/>
              <a:hlinkClick xmlns:r="http://schemas.openxmlformats.org/officeDocument/2006/relationships" r:id="rId1"/>
            </a:rPr>
            <a:t>not supported in Azure SQL Database</a:t>
          </a:r>
          <a:endParaRPr lang="en-US" sz="1400" dirty="0">
            <a:latin typeface="Segoe UI"/>
            <a:ea typeface="+mn-ea"/>
            <a:cs typeface="+mn-cs"/>
          </a:endParaRPr>
        </a:p>
      </dgm:t>
    </dgm:pt>
    <dgm:pt modelId="{20948A11-DA3E-42B5-A94D-705FCD7A523B}" type="parTrans" cxnId="{3CD02258-B4B5-4A8D-B994-0B6668480A42}">
      <dgm:prSet/>
      <dgm:spPr/>
      <dgm:t>
        <a:bodyPr/>
        <a:lstStyle/>
        <a:p>
          <a:endParaRPr lang="en-US"/>
        </a:p>
      </dgm:t>
    </dgm:pt>
    <dgm:pt modelId="{6E9BCA93-F139-4F4E-B559-C26336ED24CA}" type="sibTrans" cxnId="{3CD02258-B4B5-4A8D-B994-0B6668480A42}">
      <dgm:prSet/>
      <dgm:spPr/>
      <dgm:t>
        <a:bodyPr/>
        <a:lstStyle/>
        <a:p>
          <a:endParaRPr lang="en-US"/>
        </a:p>
      </dgm:t>
    </dgm:pt>
    <dgm:pt modelId="{2542057E-7068-4E65-8ACB-C5382A922B52}">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2"/>
            </a:rPr>
            <a:t>Discontinued Database Engine Functionality in SQL Server 2019</a:t>
          </a:r>
          <a:endParaRPr lang="en-US" sz="1400" u="sng" dirty="0">
            <a:latin typeface="Segoe UI"/>
            <a:ea typeface="+mn-ea"/>
            <a:cs typeface="+mn-cs"/>
          </a:endParaRPr>
        </a:p>
      </dgm:t>
    </dgm:pt>
    <dgm:pt modelId="{B2990DBC-7055-4ABB-8983-FA536E5714C1}" type="parTrans" cxnId="{D5D2C00F-7D69-46D6-A440-5FD485AE58E4}">
      <dgm:prSet/>
      <dgm:spPr/>
      <dgm:t>
        <a:bodyPr/>
        <a:lstStyle/>
        <a:p>
          <a:endParaRPr lang="en-US"/>
        </a:p>
      </dgm:t>
    </dgm:pt>
    <dgm:pt modelId="{6D14A25F-D7FB-4305-B5B7-3F436B476E84}" type="sibTrans" cxnId="{D5D2C00F-7D69-46D6-A440-5FD485AE58E4}">
      <dgm:prSet/>
      <dgm:spPr/>
      <dgm:t>
        <a:bodyPr/>
        <a:lstStyle/>
        <a:p>
          <a:endParaRPr lang="en-US"/>
        </a:p>
      </dgm:t>
    </dgm:pt>
    <dgm:pt modelId="{80F9D8B6-1359-4633-91D8-1DB6880B7F99}">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3"/>
            </a:rPr>
            <a:t>Discontinued Database Engine Functionality in SQL Server 2017</a:t>
          </a:r>
          <a:endParaRPr lang="en-US" sz="1400" u="sng" dirty="0">
            <a:latin typeface="Segoe UI"/>
            <a:ea typeface="+mn-ea"/>
            <a:cs typeface="+mn-cs"/>
          </a:endParaRPr>
        </a:p>
      </dgm:t>
    </dgm:pt>
    <dgm:pt modelId="{A93C7254-DF9B-4CDA-8DB3-12B87AF023B6}" type="parTrans" cxnId="{E3636DD4-232B-4DB5-9765-9E9DA6E4DA99}">
      <dgm:prSet/>
      <dgm:spPr/>
      <dgm:t>
        <a:bodyPr/>
        <a:lstStyle/>
        <a:p>
          <a:endParaRPr lang="en-US"/>
        </a:p>
      </dgm:t>
    </dgm:pt>
    <dgm:pt modelId="{44858BE7-DAC3-44D6-A2B3-342B0D4A61A3}" type="sibTrans" cxnId="{E3636DD4-232B-4DB5-9765-9E9DA6E4DA99}">
      <dgm:prSet/>
      <dgm:spPr/>
      <dgm:t>
        <a:bodyPr/>
        <a:lstStyle/>
        <a:p>
          <a:endParaRPr lang="en-US"/>
        </a:p>
      </dgm:t>
    </dgm:pt>
    <dgm:pt modelId="{F7CD3B1A-9EF9-48AE-B153-A31FDB7EECDA}">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4"/>
            </a:rPr>
            <a:t>Discontinued Database Engine Functionality in SQL Server 2016</a:t>
          </a:r>
          <a:endParaRPr lang="en-US" sz="1400" u="sng" dirty="0">
            <a:latin typeface="Segoe UI"/>
            <a:ea typeface="+mn-ea"/>
            <a:cs typeface="+mn-cs"/>
          </a:endParaRPr>
        </a:p>
      </dgm:t>
    </dgm:pt>
    <dgm:pt modelId="{70C580B5-1B12-4945-A57B-C2AB4FC5B492}" type="parTrans" cxnId="{B66A94AE-7A6B-4F71-9EF0-D15F29BD23D2}">
      <dgm:prSet/>
      <dgm:spPr/>
      <dgm:t>
        <a:bodyPr/>
        <a:lstStyle/>
        <a:p>
          <a:endParaRPr lang="en-US"/>
        </a:p>
      </dgm:t>
    </dgm:pt>
    <dgm:pt modelId="{BE861E30-264C-4101-9CE3-C37C51C85F84}" type="sibTrans" cxnId="{B66A94AE-7A6B-4F71-9EF0-D15F29BD23D2}">
      <dgm:prSet/>
      <dgm:spPr/>
      <dgm:t>
        <a:bodyPr/>
        <a:lstStyle/>
        <a:p>
          <a:endParaRPr lang="en-US"/>
        </a:p>
      </dgm:t>
    </dgm:pt>
    <dgm:pt modelId="{4BD0CA80-B07C-454B-AD59-8B9C79483500}">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5"/>
            </a:rPr>
            <a:t>Discontinued Database Engine Functionality in SQL Server 2014</a:t>
          </a:r>
          <a:endParaRPr lang="en-US" sz="1400" u="sng" dirty="0">
            <a:latin typeface="Segoe UI"/>
            <a:ea typeface="+mn-ea"/>
            <a:cs typeface="+mn-cs"/>
          </a:endParaRPr>
        </a:p>
      </dgm:t>
    </dgm:pt>
    <dgm:pt modelId="{C8236CC6-93D6-4482-8488-FF5AB5EF611E}" type="parTrans" cxnId="{31B4F6DF-6047-4DC0-9808-69B33222355D}">
      <dgm:prSet/>
      <dgm:spPr/>
      <dgm:t>
        <a:bodyPr/>
        <a:lstStyle/>
        <a:p>
          <a:endParaRPr lang="en-US"/>
        </a:p>
      </dgm:t>
    </dgm:pt>
    <dgm:pt modelId="{3593D69E-3005-4FCE-8A09-2D4A0AB08328}" type="sibTrans" cxnId="{31B4F6DF-6047-4DC0-9808-69B33222355D}">
      <dgm:prSet/>
      <dgm:spPr/>
      <dgm:t>
        <a:bodyPr/>
        <a:lstStyle/>
        <a:p>
          <a:endParaRPr lang="en-US"/>
        </a:p>
      </dgm:t>
    </dgm:pt>
    <dgm:pt modelId="{50C9DB6B-F593-4685-ABEE-F63A29AFC9DB}">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6"/>
            </a:rPr>
            <a:t>Discontinued Database Engine Functionality in SQL Server 2012</a:t>
          </a:r>
          <a:endParaRPr lang="en-US" sz="1400" u="sng" dirty="0">
            <a:latin typeface="Segoe UI"/>
            <a:ea typeface="+mn-ea"/>
            <a:cs typeface="+mn-cs"/>
          </a:endParaRPr>
        </a:p>
      </dgm:t>
    </dgm:pt>
    <dgm:pt modelId="{B60F7C49-15D2-4130-8DDE-6F030EBD98CB}" type="parTrans" cxnId="{C17F2A79-5D78-4ADA-86AB-6FB9F7E3CB60}">
      <dgm:prSet/>
      <dgm:spPr/>
      <dgm:t>
        <a:bodyPr/>
        <a:lstStyle/>
        <a:p>
          <a:endParaRPr lang="en-US"/>
        </a:p>
      </dgm:t>
    </dgm:pt>
    <dgm:pt modelId="{ACF2B3A5-926C-42CF-AA74-07D55B5FCB9A}" type="sibTrans" cxnId="{C17F2A79-5D78-4ADA-86AB-6FB9F7E3CB60}">
      <dgm:prSet/>
      <dgm:spPr/>
      <dgm:t>
        <a:bodyPr/>
        <a:lstStyle/>
        <a:p>
          <a:endParaRPr lang="en-US"/>
        </a:p>
      </dgm:t>
    </dgm:pt>
    <dgm:pt modelId="{2900966B-E806-484A-A6B3-A63798017808}">
      <dgm:prSet custT="1"/>
      <dgm:spPr>
        <a:xfrm>
          <a:off x="0" y="2939005"/>
          <a:ext cx="11117271" cy="2214450"/>
        </a:xfrm>
      </dgm:spPr>
      <dgm:t>
        <a:bodyPr/>
        <a:lstStyle/>
        <a:p>
          <a:pPr>
            <a:buChar char="•"/>
          </a:pPr>
          <a:r>
            <a:rPr lang="en-US" sz="1400" u="sng">
              <a:latin typeface="Segoe UI"/>
              <a:ea typeface="+mn-ea"/>
              <a:cs typeface="+mn-cs"/>
              <a:hlinkClick xmlns:r="http://schemas.openxmlformats.org/officeDocument/2006/relationships" r:id="rId7"/>
            </a:rPr>
            <a:t>Discontinued Database Engine Functionality in SQL Server 2008 R2</a:t>
          </a:r>
          <a:endParaRPr lang="en-US" sz="1400" u="sng" dirty="0">
            <a:latin typeface="Segoe UI"/>
            <a:ea typeface="+mn-ea"/>
            <a:cs typeface="+mn-cs"/>
          </a:endParaRPr>
        </a:p>
      </dgm:t>
    </dgm:pt>
    <dgm:pt modelId="{3A6C0B61-F1E6-4F5F-81C0-0B2E0ECE11E9}" type="parTrans" cxnId="{EDB3057E-943A-465C-A09A-090D81C1C59C}">
      <dgm:prSet/>
      <dgm:spPr/>
      <dgm:t>
        <a:bodyPr/>
        <a:lstStyle/>
        <a:p>
          <a:endParaRPr lang="en-US"/>
        </a:p>
      </dgm:t>
    </dgm:pt>
    <dgm:pt modelId="{6F48267B-4047-4565-A983-A48F211D9F95}" type="sibTrans" cxnId="{EDB3057E-943A-465C-A09A-090D81C1C59C}">
      <dgm:prSet/>
      <dgm:spPr/>
      <dgm:t>
        <a:bodyPr/>
        <a:lstStyle/>
        <a:p>
          <a:endParaRPr lang="en-US"/>
        </a:p>
      </dgm:t>
    </dgm:pt>
    <dgm:pt modelId="{CFF4E857-1384-4669-91FA-1D13696C6692}" type="pres">
      <dgm:prSet presAssocID="{5A759892-22C4-4E0B-ACB3-C13A12353485}" presName="linear" presStyleCnt="0">
        <dgm:presLayoutVars>
          <dgm:animLvl val="lvl"/>
          <dgm:resizeHandles val="exact"/>
        </dgm:presLayoutVars>
      </dgm:prSet>
      <dgm:spPr/>
    </dgm:pt>
    <dgm:pt modelId="{6CC4BF69-7076-4A55-85C4-1F6B51EE0DA3}" type="pres">
      <dgm:prSet presAssocID="{2D93953F-DBCD-4D5C-8319-446C7532C19C}" presName="parentText" presStyleLbl="node1" presStyleIdx="0" presStyleCnt="4">
        <dgm:presLayoutVars>
          <dgm:chMax val="0"/>
          <dgm:bulletEnabled val="1"/>
        </dgm:presLayoutVars>
      </dgm:prSet>
      <dgm:spPr>
        <a:prstGeom prst="roundRect">
          <a:avLst/>
        </a:prstGeom>
      </dgm:spPr>
    </dgm:pt>
    <dgm:pt modelId="{EA14B30B-88EF-46AE-A552-2FC028050C86}" type="pres">
      <dgm:prSet presAssocID="{A787DEA7-45C3-43EB-8A81-BB8ADB357FA2}" presName="spacer" presStyleCnt="0"/>
      <dgm:spPr/>
    </dgm:pt>
    <dgm:pt modelId="{EE5EF3CB-4750-4E82-8457-8228844FCD11}" type="pres">
      <dgm:prSet presAssocID="{9C77ABFA-0CBE-48E9-A42F-941840E8966E}" presName="parentText" presStyleLbl="node1" presStyleIdx="1" presStyleCnt="4">
        <dgm:presLayoutVars>
          <dgm:chMax val="0"/>
          <dgm:bulletEnabled val="1"/>
        </dgm:presLayoutVars>
      </dgm:prSet>
      <dgm:spPr>
        <a:prstGeom prst="roundRect">
          <a:avLst/>
        </a:prstGeom>
      </dgm:spPr>
    </dgm:pt>
    <dgm:pt modelId="{E6B8C24F-324A-46F0-B0B5-584E1AFB6E87}" type="pres">
      <dgm:prSet presAssocID="{0089CD1B-63F0-407B-8B34-9028A6DB359E}" presName="spacer" presStyleCnt="0"/>
      <dgm:spPr/>
    </dgm:pt>
    <dgm:pt modelId="{EA195B0A-A0C6-4104-B3C4-5307CB6879C2}" type="pres">
      <dgm:prSet presAssocID="{08BA27B1-AEA4-48B5-9EF1-111E39787260}" presName="parentText" presStyleLbl="node1" presStyleIdx="2" presStyleCnt="4">
        <dgm:presLayoutVars>
          <dgm:chMax val="0"/>
          <dgm:bulletEnabled val="1"/>
        </dgm:presLayoutVars>
      </dgm:prSet>
      <dgm:spPr>
        <a:prstGeom prst="roundRect">
          <a:avLst/>
        </a:prstGeom>
      </dgm:spPr>
    </dgm:pt>
    <dgm:pt modelId="{8DB8E0D9-28FF-4573-A03F-72C6F46D3B92}" type="pres">
      <dgm:prSet presAssocID="{A2E4E776-0F77-4070-80CC-FD44B291DCA3}" presName="spacer" presStyleCnt="0"/>
      <dgm:spPr/>
    </dgm:pt>
    <dgm:pt modelId="{96FF7710-E2BF-4AFA-B10E-3C617FCE2E44}" type="pres">
      <dgm:prSet presAssocID="{FE919866-E25F-47AE-9A95-A8CEEEAF32F4}" presName="parentText" presStyleLbl="node1" presStyleIdx="3" presStyleCnt="4">
        <dgm:presLayoutVars>
          <dgm:chMax val="0"/>
          <dgm:bulletEnabled val="1"/>
        </dgm:presLayoutVars>
      </dgm:prSet>
      <dgm:spPr>
        <a:prstGeom prst="roundRect">
          <a:avLst/>
        </a:prstGeom>
      </dgm:spPr>
    </dgm:pt>
    <dgm:pt modelId="{8DD7574B-1EE9-433F-AA79-C10AC115C3B4}" type="pres">
      <dgm:prSet presAssocID="{FE919866-E25F-47AE-9A95-A8CEEEAF32F4}" presName="childText" presStyleLbl="revTx" presStyleIdx="0" presStyleCnt="1">
        <dgm:presLayoutVars>
          <dgm:bulletEnabled val="1"/>
        </dgm:presLayoutVars>
      </dgm:prSet>
      <dgm:spPr>
        <a:prstGeom prst="rect">
          <a:avLst/>
        </a:prstGeom>
      </dgm:spPr>
    </dgm:pt>
  </dgm:ptLst>
  <dgm:cxnLst>
    <dgm:cxn modelId="{45D18308-1D0C-41DD-BA27-C6FE2152A3EC}" srcId="{5A759892-22C4-4E0B-ACB3-C13A12353485}" destId="{08BA27B1-AEA4-48B5-9EF1-111E39787260}" srcOrd="2" destOrd="0" parTransId="{FC2E9DDB-6258-40E1-9AB5-5D32C6EB1702}" sibTransId="{A2E4E776-0F77-4070-80CC-FD44B291DCA3}"/>
    <dgm:cxn modelId="{D5D2C00F-7D69-46D6-A440-5FD485AE58E4}" srcId="{FE919866-E25F-47AE-9A95-A8CEEEAF32F4}" destId="{2542057E-7068-4E65-8ACB-C5382A922B52}" srcOrd="1" destOrd="0" parTransId="{B2990DBC-7055-4ABB-8983-FA536E5714C1}" sibTransId="{6D14A25F-D7FB-4305-B5B7-3F436B476E84}"/>
    <dgm:cxn modelId="{C8817026-16A1-455F-B627-2EF09079DCF1}" type="presOf" srcId="{50C9DB6B-F593-4685-ABEE-F63A29AFC9DB}" destId="{8DD7574B-1EE9-433F-AA79-C10AC115C3B4}" srcOrd="0" destOrd="5" presId="urn:microsoft.com/office/officeart/2005/8/layout/vList2"/>
    <dgm:cxn modelId="{5B8CF65D-0C0A-4B78-B20D-63F1FA4E6F4E}" type="presOf" srcId="{9FC75D09-1A5D-4426-B980-23C051852D28}" destId="{8DD7574B-1EE9-433F-AA79-C10AC115C3B4}" srcOrd="0" destOrd="0" presId="urn:microsoft.com/office/officeart/2005/8/layout/vList2"/>
    <dgm:cxn modelId="{3CD02258-B4B5-4A8D-B994-0B6668480A42}" srcId="{FE919866-E25F-47AE-9A95-A8CEEEAF32F4}" destId="{9FC75D09-1A5D-4426-B980-23C051852D28}" srcOrd="0" destOrd="0" parTransId="{20948A11-DA3E-42B5-A94D-705FCD7A523B}" sibTransId="{6E9BCA93-F139-4F4E-B559-C26336ED24CA}"/>
    <dgm:cxn modelId="{C17F2A79-5D78-4ADA-86AB-6FB9F7E3CB60}" srcId="{FE919866-E25F-47AE-9A95-A8CEEEAF32F4}" destId="{50C9DB6B-F593-4685-ABEE-F63A29AFC9DB}" srcOrd="5" destOrd="0" parTransId="{B60F7C49-15D2-4130-8DDE-6F030EBD98CB}" sibTransId="{ACF2B3A5-926C-42CF-AA74-07D55B5FCB9A}"/>
    <dgm:cxn modelId="{EDB3057E-943A-465C-A09A-090D81C1C59C}" srcId="{FE919866-E25F-47AE-9A95-A8CEEEAF32F4}" destId="{2900966B-E806-484A-A6B3-A63798017808}" srcOrd="6" destOrd="0" parTransId="{3A6C0B61-F1E6-4F5F-81C0-0B2E0ECE11E9}" sibTransId="{6F48267B-4047-4565-A983-A48F211D9F95}"/>
    <dgm:cxn modelId="{6D706588-B55B-43C8-B54D-9CDC095CB660}" srcId="{5A759892-22C4-4E0B-ACB3-C13A12353485}" destId="{FE919866-E25F-47AE-9A95-A8CEEEAF32F4}" srcOrd="3" destOrd="0" parTransId="{312D7224-0F25-448C-8D51-8E74F02BE1E1}" sibTransId="{2E878253-0481-4060-BA06-92D8895C75FF}"/>
    <dgm:cxn modelId="{BE401E8F-5022-4C74-9C57-AFF3E3CA6DC7}" type="presOf" srcId="{2D93953F-DBCD-4D5C-8319-446C7532C19C}" destId="{6CC4BF69-7076-4A55-85C4-1F6B51EE0DA3}" srcOrd="0" destOrd="0" presId="urn:microsoft.com/office/officeart/2005/8/layout/vList2"/>
    <dgm:cxn modelId="{BDE6BEA3-5CF3-4A69-A0FD-898A130374FF}" type="presOf" srcId="{F7CD3B1A-9EF9-48AE-B153-A31FDB7EECDA}" destId="{8DD7574B-1EE9-433F-AA79-C10AC115C3B4}" srcOrd="0" destOrd="3" presId="urn:microsoft.com/office/officeart/2005/8/layout/vList2"/>
    <dgm:cxn modelId="{B66A94AE-7A6B-4F71-9EF0-D15F29BD23D2}" srcId="{FE919866-E25F-47AE-9A95-A8CEEEAF32F4}" destId="{F7CD3B1A-9EF9-48AE-B153-A31FDB7EECDA}" srcOrd="3" destOrd="0" parTransId="{70C580B5-1B12-4945-A57B-C2AB4FC5B492}" sibTransId="{BE861E30-264C-4101-9CE3-C37C51C85F84}"/>
    <dgm:cxn modelId="{A1104EB4-54B8-4A09-9C3F-7D52BB0055D9}" type="presOf" srcId="{2900966B-E806-484A-A6B3-A63798017808}" destId="{8DD7574B-1EE9-433F-AA79-C10AC115C3B4}" srcOrd="0" destOrd="6" presId="urn:microsoft.com/office/officeart/2005/8/layout/vList2"/>
    <dgm:cxn modelId="{9F60FAC2-8411-4B8A-924F-99F8620B094B}" type="presOf" srcId="{08BA27B1-AEA4-48B5-9EF1-111E39787260}" destId="{EA195B0A-A0C6-4104-B3C4-5307CB6879C2}" srcOrd="0" destOrd="0" presId="urn:microsoft.com/office/officeart/2005/8/layout/vList2"/>
    <dgm:cxn modelId="{D54993C3-5B03-4CF0-88E0-5EC2D3C32872}" type="presOf" srcId="{4BD0CA80-B07C-454B-AD59-8B9C79483500}" destId="{8DD7574B-1EE9-433F-AA79-C10AC115C3B4}" srcOrd="0" destOrd="4" presId="urn:microsoft.com/office/officeart/2005/8/layout/vList2"/>
    <dgm:cxn modelId="{23A74FCA-4118-451D-B312-2C6BE82A3D97}" type="presOf" srcId="{80F9D8B6-1359-4633-91D8-1DB6880B7F99}" destId="{8DD7574B-1EE9-433F-AA79-C10AC115C3B4}" srcOrd="0" destOrd="2" presId="urn:microsoft.com/office/officeart/2005/8/layout/vList2"/>
    <dgm:cxn modelId="{B17818CE-5364-4F8C-886E-7352B3313C1A}" type="presOf" srcId="{9C77ABFA-0CBE-48E9-A42F-941840E8966E}" destId="{EE5EF3CB-4750-4E82-8457-8228844FCD11}" srcOrd="0" destOrd="0" presId="urn:microsoft.com/office/officeart/2005/8/layout/vList2"/>
    <dgm:cxn modelId="{2EB1F2D0-9449-4B28-B25C-013EC60FF77A}" srcId="{5A759892-22C4-4E0B-ACB3-C13A12353485}" destId="{2D93953F-DBCD-4D5C-8319-446C7532C19C}" srcOrd="0" destOrd="0" parTransId="{B2E473EE-07C0-42BC-BE08-522908ED46E0}" sibTransId="{A787DEA7-45C3-43EB-8A81-BB8ADB357FA2}"/>
    <dgm:cxn modelId="{E3636DD4-232B-4DB5-9765-9E9DA6E4DA99}" srcId="{FE919866-E25F-47AE-9A95-A8CEEEAF32F4}" destId="{80F9D8B6-1359-4633-91D8-1DB6880B7F99}" srcOrd="2" destOrd="0" parTransId="{A93C7254-DF9B-4CDA-8DB3-12B87AF023B6}" sibTransId="{44858BE7-DAC3-44D6-A2B3-342B0D4A61A3}"/>
    <dgm:cxn modelId="{E4488AD9-7C9E-4550-8AEA-11756F24A193}" type="presOf" srcId="{FE919866-E25F-47AE-9A95-A8CEEEAF32F4}" destId="{96FF7710-E2BF-4AFA-B10E-3C617FCE2E44}" srcOrd="0" destOrd="0" presId="urn:microsoft.com/office/officeart/2005/8/layout/vList2"/>
    <dgm:cxn modelId="{31B4F6DF-6047-4DC0-9808-69B33222355D}" srcId="{FE919866-E25F-47AE-9A95-A8CEEEAF32F4}" destId="{4BD0CA80-B07C-454B-AD59-8B9C79483500}" srcOrd="4" destOrd="0" parTransId="{C8236CC6-93D6-4482-8488-FF5AB5EF611E}" sibTransId="{3593D69E-3005-4FCE-8A09-2D4A0AB08328}"/>
    <dgm:cxn modelId="{2E718AEB-26D7-48B1-852E-15C8BEEE0E75}" type="presOf" srcId="{5A759892-22C4-4E0B-ACB3-C13A12353485}" destId="{CFF4E857-1384-4669-91FA-1D13696C6692}" srcOrd="0" destOrd="0" presId="urn:microsoft.com/office/officeart/2005/8/layout/vList2"/>
    <dgm:cxn modelId="{57D0EBEC-CFBC-463D-87C2-96B4C265A219}" srcId="{5A759892-22C4-4E0B-ACB3-C13A12353485}" destId="{9C77ABFA-0CBE-48E9-A42F-941840E8966E}" srcOrd="1" destOrd="0" parTransId="{F1794985-EBFE-4B7C-A04C-D3FF55A572A9}" sibTransId="{0089CD1B-63F0-407B-8B34-9028A6DB359E}"/>
    <dgm:cxn modelId="{A9BABDF7-E673-493D-AD9E-874F075DFC2F}" type="presOf" srcId="{2542057E-7068-4E65-8ACB-C5382A922B52}" destId="{8DD7574B-1EE9-433F-AA79-C10AC115C3B4}" srcOrd="0" destOrd="1" presId="urn:microsoft.com/office/officeart/2005/8/layout/vList2"/>
    <dgm:cxn modelId="{7876DB5F-A33C-4651-BA8E-737773A20561}" type="presParOf" srcId="{CFF4E857-1384-4669-91FA-1D13696C6692}" destId="{6CC4BF69-7076-4A55-85C4-1F6B51EE0DA3}" srcOrd="0" destOrd="0" presId="urn:microsoft.com/office/officeart/2005/8/layout/vList2"/>
    <dgm:cxn modelId="{584628C1-09FB-4F54-8152-6353E025C972}" type="presParOf" srcId="{CFF4E857-1384-4669-91FA-1D13696C6692}" destId="{EA14B30B-88EF-46AE-A552-2FC028050C86}" srcOrd="1" destOrd="0" presId="urn:microsoft.com/office/officeart/2005/8/layout/vList2"/>
    <dgm:cxn modelId="{F9123226-E8DB-445B-B9C2-1E437927E2EF}" type="presParOf" srcId="{CFF4E857-1384-4669-91FA-1D13696C6692}" destId="{EE5EF3CB-4750-4E82-8457-8228844FCD11}" srcOrd="2" destOrd="0" presId="urn:microsoft.com/office/officeart/2005/8/layout/vList2"/>
    <dgm:cxn modelId="{C2CC3068-B5D7-4E09-9D29-69A6B6F1BA94}" type="presParOf" srcId="{CFF4E857-1384-4669-91FA-1D13696C6692}" destId="{E6B8C24F-324A-46F0-B0B5-584E1AFB6E87}" srcOrd="3" destOrd="0" presId="urn:microsoft.com/office/officeart/2005/8/layout/vList2"/>
    <dgm:cxn modelId="{06771364-5951-4BF2-88CD-15FF90B2DDC2}" type="presParOf" srcId="{CFF4E857-1384-4669-91FA-1D13696C6692}" destId="{EA195B0A-A0C6-4104-B3C4-5307CB6879C2}" srcOrd="4" destOrd="0" presId="urn:microsoft.com/office/officeart/2005/8/layout/vList2"/>
    <dgm:cxn modelId="{94F10B20-1AAA-40A1-9533-49A2D6F6F931}" type="presParOf" srcId="{CFF4E857-1384-4669-91FA-1D13696C6692}" destId="{8DB8E0D9-28FF-4573-A03F-72C6F46D3B92}" srcOrd="5" destOrd="0" presId="urn:microsoft.com/office/officeart/2005/8/layout/vList2"/>
    <dgm:cxn modelId="{A8A98E48-572C-4E50-8CD3-9F727AC8105C}" type="presParOf" srcId="{CFF4E857-1384-4669-91FA-1D13696C6692}" destId="{96FF7710-E2BF-4AFA-B10E-3C617FCE2E44}" srcOrd="6" destOrd="0" presId="urn:microsoft.com/office/officeart/2005/8/layout/vList2"/>
    <dgm:cxn modelId="{40E5FD67-1D7F-4FE9-BB4A-49461FBEADFD}" type="presParOf" srcId="{CFF4E857-1384-4669-91FA-1D13696C6692}" destId="{8DD7574B-1EE9-433F-AA79-C10AC115C3B4}"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AAA779A-03BC-4EDD-9E96-A7005C57F76E}"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25965BF9-EB89-4EED-87BC-2264E76E8A7C}">
      <dgm:prSet/>
      <dgm:spPr/>
      <dgm:t>
        <a:bodyPr/>
        <a:lstStyle/>
        <a:p>
          <a:r>
            <a:rPr lang="en-US" baseline="0"/>
            <a:t>Database Migration Assistant: (DMA) </a:t>
          </a:r>
          <a:endParaRPr lang="en-US"/>
        </a:p>
      </dgm:t>
    </dgm:pt>
    <dgm:pt modelId="{3C89D247-8F34-44F9-9F0C-E2CE7BAA752D}" type="parTrans" cxnId="{F777DB12-7BC8-466E-928E-53A2F095DA61}">
      <dgm:prSet/>
      <dgm:spPr/>
      <dgm:t>
        <a:bodyPr/>
        <a:lstStyle/>
        <a:p>
          <a:endParaRPr lang="en-US"/>
        </a:p>
      </dgm:t>
    </dgm:pt>
    <dgm:pt modelId="{02950153-5ED2-4B88-A95E-A47A1F9DACE6}" type="sibTrans" cxnId="{F777DB12-7BC8-466E-928E-53A2F095DA61}">
      <dgm:prSet/>
      <dgm:spPr/>
      <dgm:t>
        <a:bodyPr/>
        <a:lstStyle/>
        <a:p>
          <a:endParaRPr lang="en-US"/>
        </a:p>
      </dgm:t>
    </dgm:pt>
    <dgm:pt modelId="{6B780E03-EBFB-4EC3-BAD5-43E9BA0F9F7D}">
      <dgm:prSet/>
      <dgm:spPr/>
      <dgm:t>
        <a:bodyPr/>
        <a:lstStyle/>
        <a:p>
          <a:r>
            <a:rPr lang="en-US" baseline="0" dirty="0"/>
            <a:t>Provides SKU recommendations in a user-friendly output based on performance counters collected from the computer(s) hosting your databases.</a:t>
          </a:r>
          <a:endParaRPr lang="en-US" dirty="0"/>
        </a:p>
      </dgm:t>
    </dgm:pt>
    <dgm:pt modelId="{3EA8B8B3-8034-49FB-802E-083E796E07D6}" type="parTrans" cxnId="{25F97736-3468-43D7-9529-64D907CB0A09}">
      <dgm:prSet/>
      <dgm:spPr/>
      <dgm:t>
        <a:bodyPr/>
        <a:lstStyle/>
        <a:p>
          <a:endParaRPr lang="en-US"/>
        </a:p>
      </dgm:t>
    </dgm:pt>
    <dgm:pt modelId="{B6D06DD8-A55D-48B0-8E0D-104711CD2F3C}" type="sibTrans" cxnId="{25F97736-3468-43D7-9529-64D907CB0A09}">
      <dgm:prSet/>
      <dgm:spPr/>
      <dgm:t>
        <a:bodyPr/>
        <a:lstStyle/>
        <a:p>
          <a:endParaRPr lang="en-US"/>
        </a:p>
      </dgm:t>
    </dgm:pt>
    <dgm:pt modelId="{757119FE-2A0C-4E33-817C-EED524D6CB51}">
      <dgm:prSet/>
      <dgm:spPr/>
      <dgm:t>
        <a:bodyPr/>
        <a:lstStyle/>
        <a:p>
          <a:r>
            <a:rPr lang="en-US" baseline="0" dirty="0"/>
            <a:t>It has several deployment options, including:</a:t>
          </a:r>
          <a:endParaRPr lang="en-US" dirty="0"/>
        </a:p>
      </dgm:t>
    </dgm:pt>
    <dgm:pt modelId="{CC25B54E-AEF5-4264-8EC7-C2AFB1696761}" type="parTrans" cxnId="{2646E86F-0F23-41E7-84E8-EB94B1318FBE}">
      <dgm:prSet/>
      <dgm:spPr/>
      <dgm:t>
        <a:bodyPr/>
        <a:lstStyle/>
        <a:p>
          <a:endParaRPr lang="en-US"/>
        </a:p>
      </dgm:t>
    </dgm:pt>
    <dgm:pt modelId="{FD18B3B0-159C-443B-BF23-C7AE0EB2AB62}" type="sibTrans" cxnId="{2646E86F-0F23-41E7-84E8-EB94B1318FBE}">
      <dgm:prSet/>
      <dgm:spPr/>
      <dgm:t>
        <a:bodyPr/>
        <a:lstStyle/>
        <a:p>
          <a:endParaRPr lang="en-US"/>
        </a:p>
      </dgm:t>
    </dgm:pt>
    <dgm:pt modelId="{7459E4E3-96B0-4C53-B9AD-73C7B6AFB2AA}">
      <dgm:prSet/>
      <dgm:spPr/>
      <dgm:t>
        <a:bodyPr/>
        <a:lstStyle/>
        <a:p>
          <a:r>
            <a:rPr lang="en-US" baseline="0"/>
            <a:t>Single database</a:t>
          </a:r>
          <a:endParaRPr lang="en-US"/>
        </a:p>
      </dgm:t>
    </dgm:pt>
    <dgm:pt modelId="{2FA2E50B-0262-4E1D-921B-A93F3E01E97C}" type="parTrans" cxnId="{EE2F704C-21AE-4302-A3C2-FFD4E760811F}">
      <dgm:prSet/>
      <dgm:spPr/>
      <dgm:t>
        <a:bodyPr/>
        <a:lstStyle/>
        <a:p>
          <a:endParaRPr lang="en-US"/>
        </a:p>
      </dgm:t>
    </dgm:pt>
    <dgm:pt modelId="{2C66ABA8-2859-4543-95A5-7253663E9168}" type="sibTrans" cxnId="{EE2F704C-21AE-4302-A3C2-FFD4E760811F}">
      <dgm:prSet/>
      <dgm:spPr/>
      <dgm:t>
        <a:bodyPr/>
        <a:lstStyle/>
        <a:p>
          <a:endParaRPr lang="en-US"/>
        </a:p>
      </dgm:t>
    </dgm:pt>
    <dgm:pt modelId="{D21D5D15-D233-4C4A-BD39-EE7575DCECA7}">
      <dgm:prSet/>
      <dgm:spPr/>
      <dgm:t>
        <a:bodyPr/>
        <a:lstStyle/>
        <a:p>
          <a:r>
            <a:rPr lang="en-US" baseline="0"/>
            <a:t>Elastic pools</a:t>
          </a:r>
          <a:endParaRPr lang="en-US"/>
        </a:p>
      </dgm:t>
    </dgm:pt>
    <dgm:pt modelId="{6C2D9286-5BEF-4B11-8C77-71D76CE8EAA1}" type="parTrans" cxnId="{299AC611-98D7-4AEB-9503-8D626D5C48D1}">
      <dgm:prSet/>
      <dgm:spPr/>
      <dgm:t>
        <a:bodyPr/>
        <a:lstStyle/>
        <a:p>
          <a:endParaRPr lang="en-US"/>
        </a:p>
      </dgm:t>
    </dgm:pt>
    <dgm:pt modelId="{8793EB61-271B-4BD7-BCFC-F7CBEE3C50BC}" type="sibTrans" cxnId="{299AC611-98D7-4AEB-9503-8D626D5C48D1}">
      <dgm:prSet/>
      <dgm:spPr/>
      <dgm:t>
        <a:bodyPr/>
        <a:lstStyle/>
        <a:p>
          <a:endParaRPr lang="en-US"/>
        </a:p>
      </dgm:t>
    </dgm:pt>
    <dgm:pt modelId="{5D645B24-2AF7-4795-83D3-9E0545BFF12D}">
      <dgm:prSet/>
      <dgm:spPr/>
      <dgm:t>
        <a:bodyPr/>
        <a:lstStyle/>
        <a:p>
          <a:r>
            <a:rPr lang="en-US" baseline="0"/>
            <a:t>Managed instance</a:t>
          </a:r>
          <a:endParaRPr lang="en-US"/>
        </a:p>
      </dgm:t>
    </dgm:pt>
    <dgm:pt modelId="{25AC9E92-9E68-46C2-B087-4EA2B53484A8}" type="parTrans" cxnId="{EF6A9EDF-4F83-4CEB-82D8-E058C2FCFC74}">
      <dgm:prSet/>
      <dgm:spPr/>
      <dgm:t>
        <a:bodyPr/>
        <a:lstStyle/>
        <a:p>
          <a:endParaRPr lang="en-US"/>
        </a:p>
      </dgm:t>
    </dgm:pt>
    <dgm:pt modelId="{910DBFDF-BAFB-475B-BE70-484C0A22B68B}" type="sibTrans" cxnId="{EF6A9EDF-4F83-4CEB-82D8-E058C2FCFC74}">
      <dgm:prSet/>
      <dgm:spPr/>
      <dgm:t>
        <a:bodyPr/>
        <a:lstStyle/>
        <a:p>
          <a:endParaRPr lang="en-US"/>
        </a:p>
      </dgm:t>
    </dgm:pt>
    <dgm:pt modelId="{E66888F8-4E79-463E-85E6-AA45CDF2DDED}" type="pres">
      <dgm:prSet presAssocID="{4AAA779A-03BC-4EDD-9E96-A7005C57F76E}" presName="Name0" presStyleCnt="0">
        <dgm:presLayoutVars>
          <dgm:dir/>
          <dgm:animLvl val="lvl"/>
          <dgm:resizeHandles val="exact"/>
        </dgm:presLayoutVars>
      </dgm:prSet>
      <dgm:spPr/>
    </dgm:pt>
    <dgm:pt modelId="{8CF84E6A-33DC-4D33-8525-2DB056CAD3EF}" type="pres">
      <dgm:prSet presAssocID="{25965BF9-EB89-4EED-87BC-2264E76E8A7C}" presName="composite" presStyleCnt="0"/>
      <dgm:spPr/>
    </dgm:pt>
    <dgm:pt modelId="{195087D2-09A2-46C3-9881-050C3583E085}" type="pres">
      <dgm:prSet presAssocID="{25965BF9-EB89-4EED-87BC-2264E76E8A7C}" presName="parTx" presStyleLbl="alignNode1" presStyleIdx="0" presStyleCnt="1">
        <dgm:presLayoutVars>
          <dgm:chMax val="0"/>
          <dgm:chPref val="0"/>
          <dgm:bulletEnabled val="1"/>
        </dgm:presLayoutVars>
      </dgm:prSet>
      <dgm:spPr/>
    </dgm:pt>
    <dgm:pt modelId="{D0ECE224-4FF1-4563-A68D-0FCEEBFC7CDC}" type="pres">
      <dgm:prSet presAssocID="{25965BF9-EB89-4EED-87BC-2264E76E8A7C}" presName="desTx" presStyleLbl="alignAccFollowNode1" presStyleIdx="0" presStyleCnt="1">
        <dgm:presLayoutVars>
          <dgm:bulletEnabled val="1"/>
        </dgm:presLayoutVars>
      </dgm:prSet>
      <dgm:spPr/>
    </dgm:pt>
  </dgm:ptLst>
  <dgm:cxnLst>
    <dgm:cxn modelId="{299AC611-98D7-4AEB-9503-8D626D5C48D1}" srcId="{757119FE-2A0C-4E33-817C-EED524D6CB51}" destId="{D21D5D15-D233-4C4A-BD39-EE7575DCECA7}" srcOrd="1" destOrd="0" parTransId="{6C2D9286-5BEF-4B11-8C77-71D76CE8EAA1}" sibTransId="{8793EB61-271B-4BD7-BCFC-F7CBEE3C50BC}"/>
    <dgm:cxn modelId="{F777DB12-7BC8-466E-928E-53A2F095DA61}" srcId="{4AAA779A-03BC-4EDD-9E96-A7005C57F76E}" destId="{25965BF9-EB89-4EED-87BC-2264E76E8A7C}" srcOrd="0" destOrd="0" parTransId="{3C89D247-8F34-44F9-9F0C-E2CE7BAA752D}" sibTransId="{02950153-5ED2-4B88-A95E-A47A1F9DACE6}"/>
    <dgm:cxn modelId="{25F97736-3468-43D7-9529-64D907CB0A09}" srcId="{25965BF9-EB89-4EED-87BC-2264E76E8A7C}" destId="{6B780E03-EBFB-4EC3-BAD5-43E9BA0F9F7D}" srcOrd="0" destOrd="0" parTransId="{3EA8B8B3-8034-49FB-802E-083E796E07D6}" sibTransId="{B6D06DD8-A55D-48B0-8E0D-104711CD2F3C}"/>
    <dgm:cxn modelId="{5AAB8C39-858A-44EA-9695-76D503202DAA}" type="presOf" srcId="{6B780E03-EBFB-4EC3-BAD5-43E9BA0F9F7D}" destId="{D0ECE224-4FF1-4563-A68D-0FCEEBFC7CDC}" srcOrd="0" destOrd="0" presId="urn:microsoft.com/office/officeart/2005/8/layout/hList1"/>
    <dgm:cxn modelId="{BFCEBD39-783F-4818-B14E-2C7B38C50E8B}" type="presOf" srcId="{5D645B24-2AF7-4795-83D3-9E0545BFF12D}" destId="{D0ECE224-4FF1-4563-A68D-0FCEEBFC7CDC}" srcOrd="0" destOrd="4" presId="urn:microsoft.com/office/officeart/2005/8/layout/hList1"/>
    <dgm:cxn modelId="{EE2F704C-21AE-4302-A3C2-FFD4E760811F}" srcId="{757119FE-2A0C-4E33-817C-EED524D6CB51}" destId="{7459E4E3-96B0-4C53-B9AD-73C7B6AFB2AA}" srcOrd="0" destOrd="0" parTransId="{2FA2E50B-0262-4E1D-921B-A93F3E01E97C}" sibTransId="{2C66ABA8-2859-4543-95A5-7253663E9168}"/>
    <dgm:cxn modelId="{2646E86F-0F23-41E7-84E8-EB94B1318FBE}" srcId="{25965BF9-EB89-4EED-87BC-2264E76E8A7C}" destId="{757119FE-2A0C-4E33-817C-EED524D6CB51}" srcOrd="1" destOrd="0" parTransId="{CC25B54E-AEF5-4264-8EC7-C2AFB1696761}" sibTransId="{FD18B3B0-159C-443B-BF23-C7AE0EB2AB62}"/>
    <dgm:cxn modelId="{5E278193-1F26-4C9C-9699-7203F32819D0}" type="presOf" srcId="{D21D5D15-D233-4C4A-BD39-EE7575DCECA7}" destId="{D0ECE224-4FF1-4563-A68D-0FCEEBFC7CDC}" srcOrd="0" destOrd="3" presId="urn:microsoft.com/office/officeart/2005/8/layout/hList1"/>
    <dgm:cxn modelId="{2E7C0199-5F8C-40E2-8042-27C95C9D2611}" type="presOf" srcId="{25965BF9-EB89-4EED-87BC-2264E76E8A7C}" destId="{195087D2-09A2-46C3-9881-050C3583E085}" srcOrd="0" destOrd="0" presId="urn:microsoft.com/office/officeart/2005/8/layout/hList1"/>
    <dgm:cxn modelId="{F4898CB9-D544-43E6-9A59-61A1CD0DF24F}" type="presOf" srcId="{7459E4E3-96B0-4C53-B9AD-73C7B6AFB2AA}" destId="{D0ECE224-4FF1-4563-A68D-0FCEEBFC7CDC}" srcOrd="0" destOrd="2" presId="urn:microsoft.com/office/officeart/2005/8/layout/hList1"/>
    <dgm:cxn modelId="{FF150DCD-6D8C-43F5-9052-31CEA9F44096}" type="presOf" srcId="{757119FE-2A0C-4E33-817C-EED524D6CB51}" destId="{D0ECE224-4FF1-4563-A68D-0FCEEBFC7CDC}" srcOrd="0" destOrd="1" presId="urn:microsoft.com/office/officeart/2005/8/layout/hList1"/>
    <dgm:cxn modelId="{50368FD6-CEC1-4670-AD2B-FAF5027390C9}" type="presOf" srcId="{4AAA779A-03BC-4EDD-9E96-A7005C57F76E}" destId="{E66888F8-4E79-463E-85E6-AA45CDF2DDED}" srcOrd="0" destOrd="0" presId="urn:microsoft.com/office/officeart/2005/8/layout/hList1"/>
    <dgm:cxn modelId="{EF6A9EDF-4F83-4CEB-82D8-E058C2FCFC74}" srcId="{757119FE-2A0C-4E33-817C-EED524D6CB51}" destId="{5D645B24-2AF7-4795-83D3-9E0545BFF12D}" srcOrd="2" destOrd="0" parTransId="{25AC9E92-9E68-46C2-B087-4EA2B53484A8}" sibTransId="{910DBFDF-BAFB-475B-BE70-484C0A22B68B}"/>
    <dgm:cxn modelId="{E5F99765-E70B-4B10-8223-E549D7668B00}" type="presParOf" srcId="{E66888F8-4E79-463E-85E6-AA45CDF2DDED}" destId="{8CF84E6A-33DC-4D33-8525-2DB056CAD3EF}" srcOrd="0" destOrd="0" presId="urn:microsoft.com/office/officeart/2005/8/layout/hList1"/>
    <dgm:cxn modelId="{C606C063-DC10-48D3-AC04-4AB69B0AC6CB}" type="presParOf" srcId="{8CF84E6A-33DC-4D33-8525-2DB056CAD3EF}" destId="{195087D2-09A2-46C3-9881-050C3583E085}" srcOrd="0" destOrd="0" presId="urn:microsoft.com/office/officeart/2005/8/layout/hList1"/>
    <dgm:cxn modelId="{88D8FADC-C74B-4A02-B906-ACBE67A9C547}" type="presParOf" srcId="{8CF84E6A-33DC-4D33-8525-2DB056CAD3EF}" destId="{D0ECE224-4FF1-4563-A68D-0FCEEBFC7CD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25F401C-33D1-46A4-BE47-BB222828076A}"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3B450845-F5BB-4CE6-B47D-780C61450250}">
      <dgm:prSet/>
      <dgm:spPr/>
      <dgm:t>
        <a:bodyPr/>
        <a:lstStyle/>
        <a:p>
          <a:r>
            <a:rPr lang="en-US" baseline="0" dirty="0"/>
            <a:t>This feature provides recommendations related to:</a:t>
          </a:r>
          <a:endParaRPr lang="en-US" dirty="0"/>
        </a:p>
      </dgm:t>
    </dgm:pt>
    <dgm:pt modelId="{3C525523-D28B-4F49-90A4-F6A5F0CFC705}" type="parTrans" cxnId="{1744F2BA-E505-4272-82DD-0719CBA6AC03}">
      <dgm:prSet/>
      <dgm:spPr/>
      <dgm:t>
        <a:bodyPr/>
        <a:lstStyle/>
        <a:p>
          <a:endParaRPr lang="en-US"/>
        </a:p>
      </dgm:t>
    </dgm:pt>
    <dgm:pt modelId="{97435CA6-7237-4F78-AC79-269C173F7F24}" type="sibTrans" cxnId="{1744F2BA-E505-4272-82DD-0719CBA6AC03}">
      <dgm:prSet/>
      <dgm:spPr/>
      <dgm:t>
        <a:bodyPr/>
        <a:lstStyle/>
        <a:p>
          <a:endParaRPr lang="en-US"/>
        </a:p>
      </dgm:t>
    </dgm:pt>
    <dgm:pt modelId="{C31DF7F3-429D-4A7E-804D-27DDB358FCDF}">
      <dgm:prSet/>
      <dgm:spPr/>
      <dgm:t>
        <a:bodyPr/>
        <a:lstStyle/>
        <a:p>
          <a:r>
            <a:rPr lang="en-US" baseline="0"/>
            <a:t>pricing tier</a:t>
          </a:r>
          <a:endParaRPr lang="en-US"/>
        </a:p>
      </dgm:t>
    </dgm:pt>
    <dgm:pt modelId="{A3671E02-C9E3-4330-94B7-DE9CAB6F9FD7}" type="parTrans" cxnId="{B12F56F1-E024-407C-A8EC-C0448AA82DF6}">
      <dgm:prSet/>
      <dgm:spPr/>
      <dgm:t>
        <a:bodyPr/>
        <a:lstStyle/>
        <a:p>
          <a:endParaRPr lang="en-US"/>
        </a:p>
      </dgm:t>
    </dgm:pt>
    <dgm:pt modelId="{6E3838EF-BB6C-4EAF-853C-B5B569564807}" type="sibTrans" cxnId="{B12F56F1-E024-407C-A8EC-C0448AA82DF6}">
      <dgm:prSet/>
      <dgm:spPr/>
      <dgm:t>
        <a:bodyPr/>
        <a:lstStyle/>
        <a:p>
          <a:endParaRPr lang="en-US"/>
        </a:p>
      </dgm:t>
    </dgm:pt>
    <dgm:pt modelId="{944F83D1-EB28-49A1-8314-C1850BF87B84}">
      <dgm:prSet/>
      <dgm:spPr/>
      <dgm:t>
        <a:bodyPr/>
        <a:lstStyle/>
        <a:p>
          <a:r>
            <a:rPr lang="en-US" baseline="0"/>
            <a:t>compute level</a:t>
          </a:r>
          <a:endParaRPr lang="en-US"/>
        </a:p>
      </dgm:t>
    </dgm:pt>
    <dgm:pt modelId="{B1B2326C-1892-411A-8404-B646C65BC324}" type="parTrans" cxnId="{170BA8A0-CB78-4D0B-A292-6FE9322D5AF7}">
      <dgm:prSet/>
      <dgm:spPr/>
      <dgm:t>
        <a:bodyPr/>
        <a:lstStyle/>
        <a:p>
          <a:endParaRPr lang="en-US"/>
        </a:p>
      </dgm:t>
    </dgm:pt>
    <dgm:pt modelId="{1C8047D2-AF39-4CE7-8997-104DB9156F17}" type="sibTrans" cxnId="{170BA8A0-CB78-4D0B-A292-6FE9322D5AF7}">
      <dgm:prSet/>
      <dgm:spPr/>
      <dgm:t>
        <a:bodyPr/>
        <a:lstStyle/>
        <a:p>
          <a:endParaRPr lang="en-US"/>
        </a:p>
      </dgm:t>
    </dgm:pt>
    <dgm:pt modelId="{564EE16C-5099-4C75-903F-8593B6FD3BF6}">
      <dgm:prSet/>
      <dgm:spPr/>
      <dgm:t>
        <a:bodyPr/>
        <a:lstStyle/>
        <a:p>
          <a:r>
            <a:rPr lang="en-US" baseline="0" dirty="0"/>
            <a:t>max data size</a:t>
          </a:r>
          <a:endParaRPr lang="en-US" dirty="0"/>
        </a:p>
      </dgm:t>
    </dgm:pt>
    <dgm:pt modelId="{379AB8DB-4972-4381-AA5C-AE6A6B5291B2}" type="parTrans" cxnId="{0106CB8B-62A7-436C-B228-13347867F7E5}">
      <dgm:prSet/>
      <dgm:spPr/>
      <dgm:t>
        <a:bodyPr/>
        <a:lstStyle/>
        <a:p>
          <a:endParaRPr lang="en-US"/>
        </a:p>
      </dgm:t>
    </dgm:pt>
    <dgm:pt modelId="{2BBB84E9-2CB3-4F4E-A48F-E0685FD4A714}" type="sibTrans" cxnId="{0106CB8B-62A7-436C-B228-13347867F7E5}">
      <dgm:prSet/>
      <dgm:spPr/>
      <dgm:t>
        <a:bodyPr/>
        <a:lstStyle/>
        <a:p>
          <a:endParaRPr lang="en-US"/>
        </a:p>
      </dgm:t>
    </dgm:pt>
    <dgm:pt modelId="{8A7D05F0-A755-4258-8CE5-C4E679530340}">
      <dgm:prSet/>
      <dgm:spPr/>
      <dgm:t>
        <a:bodyPr/>
        <a:lstStyle/>
        <a:p>
          <a:r>
            <a:rPr lang="en-US" baseline="0" dirty="0"/>
            <a:t>estimated cost per month.</a:t>
          </a:r>
          <a:endParaRPr lang="en-US" dirty="0"/>
        </a:p>
      </dgm:t>
    </dgm:pt>
    <dgm:pt modelId="{E8EE1771-0266-4989-8DD2-D7A83205E9B0}" type="parTrans" cxnId="{2C8FCF5F-3C33-430E-8698-D096C7D9F04D}">
      <dgm:prSet/>
      <dgm:spPr/>
      <dgm:t>
        <a:bodyPr/>
        <a:lstStyle/>
        <a:p>
          <a:endParaRPr lang="en-US"/>
        </a:p>
      </dgm:t>
    </dgm:pt>
    <dgm:pt modelId="{F84345A1-A573-4773-88CA-C6820D726192}" type="sibTrans" cxnId="{2C8FCF5F-3C33-430E-8698-D096C7D9F04D}">
      <dgm:prSet/>
      <dgm:spPr/>
      <dgm:t>
        <a:bodyPr/>
        <a:lstStyle/>
        <a:p>
          <a:endParaRPr lang="en-US"/>
        </a:p>
      </dgm:t>
    </dgm:pt>
    <dgm:pt modelId="{AC900BE7-2A45-4FE7-A493-F1D4A9618726}" type="pres">
      <dgm:prSet presAssocID="{625F401C-33D1-46A4-BE47-BB222828076A}" presName="Name0" presStyleCnt="0">
        <dgm:presLayoutVars>
          <dgm:dir/>
          <dgm:animLvl val="lvl"/>
          <dgm:resizeHandles val="exact"/>
        </dgm:presLayoutVars>
      </dgm:prSet>
      <dgm:spPr/>
    </dgm:pt>
    <dgm:pt modelId="{1C97D4B8-0E23-4682-AB60-2B1D2761A805}" type="pres">
      <dgm:prSet presAssocID="{3B450845-F5BB-4CE6-B47D-780C61450250}" presName="composite" presStyleCnt="0"/>
      <dgm:spPr/>
    </dgm:pt>
    <dgm:pt modelId="{7E583A91-EA65-49EF-9FBC-1A7D39AA642D}" type="pres">
      <dgm:prSet presAssocID="{3B450845-F5BB-4CE6-B47D-780C61450250}" presName="parTx" presStyleLbl="alignNode1" presStyleIdx="0" presStyleCnt="1">
        <dgm:presLayoutVars>
          <dgm:chMax val="0"/>
          <dgm:chPref val="0"/>
          <dgm:bulletEnabled val="1"/>
        </dgm:presLayoutVars>
      </dgm:prSet>
      <dgm:spPr/>
    </dgm:pt>
    <dgm:pt modelId="{EA2C901B-D538-4DDB-9614-5A4C9344B142}" type="pres">
      <dgm:prSet presAssocID="{3B450845-F5BB-4CE6-B47D-780C61450250}" presName="desTx" presStyleLbl="alignAccFollowNode1" presStyleIdx="0" presStyleCnt="1">
        <dgm:presLayoutVars>
          <dgm:bulletEnabled val="1"/>
        </dgm:presLayoutVars>
      </dgm:prSet>
      <dgm:spPr/>
    </dgm:pt>
  </dgm:ptLst>
  <dgm:cxnLst>
    <dgm:cxn modelId="{BBD66333-53A6-4133-9621-76185AA4EC9B}" type="presOf" srcId="{944F83D1-EB28-49A1-8314-C1850BF87B84}" destId="{EA2C901B-D538-4DDB-9614-5A4C9344B142}" srcOrd="0" destOrd="1" presId="urn:microsoft.com/office/officeart/2005/8/layout/hList1"/>
    <dgm:cxn modelId="{2C8FCF5F-3C33-430E-8698-D096C7D9F04D}" srcId="{3B450845-F5BB-4CE6-B47D-780C61450250}" destId="{8A7D05F0-A755-4258-8CE5-C4E679530340}" srcOrd="3" destOrd="0" parTransId="{E8EE1771-0266-4989-8DD2-D7A83205E9B0}" sibTransId="{F84345A1-A573-4773-88CA-C6820D726192}"/>
    <dgm:cxn modelId="{0106CB8B-62A7-436C-B228-13347867F7E5}" srcId="{3B450845-F5BB-4CE6-B47D-780C61450250}" destId="{564EE16C-5099-4C75-903F-8593B6FD3BF6}" srcOrd="2" destOrd="0" parTransId="{379AB8DB-4972-4381-AA5C-AE6A6B5291B2}" sibTransId="{2BBB84E9-2CB3-4F4E-A48F-E0685FD4A714}"/>
    <dgm:cxn modelId="{170BA8A0-CB78-4D0B-A292-6FE9322D5AF7}" srcId="{3B450845-F5BB-4CE6-B47D-780C61450250}" destId="{944F83D1-EB28-49A1-8314-C1850BF87B84}" srcOrd="1" destOrd="0" parTransId="{B1B2326C-1892-411A-8404-B646C65BC324}" sibTransId="{1C8047D2-AF39-4CE7-8997-104DB9156F17}"/>
    <dgm:cxn modelId="{C1293BB7-8353-42A6-A59C-53BD681A0984}" type="presOf" srcId="{3B450845-F5BB-4CE6-B47D-780C61450250}" destId="{7E583A91-EA65-49EF-9FBC-1A7D39AA642D}" srcOrd="0" destOrd="0" presId="urn:microsoft.com/office/officeart/2005/8/layout/hList1"/>
    <dgm:cxn modelId="{1744F2BA-E505-4272-82DD-0719CBA6AC03}" srcId="{625F401C-33D1-46A4-BE47-BB222828076A}" destId="{3B450845-F5BB-4CE6-B47D-780C61450250}" srcOrd="0" destOrd="0" parTransId="{3C525523-D28B-4F49-90A4-F6A5F0CFC705}" sibTransId="{97435CA6-7237-4F78-AC79-269C173F7F24}"/>
    <dgm:cxn modelId="{80C790D6-4EF3-4FD6-B2FB-0877544D26BF}" type="presOf" srcId="{625F401C-33D1-46A4-BE47-BB222828076A}" destId="{AC900BE7-2A45-4FE7-A493-F1D4A9618726}" srcOrd="0" destOrd="0" presId="urn:microsoft.com/office/officeart/2005/8/layout/hList1"/>
    <dgm:cxn modelId="{B0FCE2E4-5759-4DE7-9F37-FC90F1AAD47E}" type="presOf" srcId="{564EE16C-5099-4C75-903F-8593B6FD3BF6}" destId="{EA2C901B-D538-4DDB-9614-5A4C9344B142}" srcOrd="0" destOrd="2" presId="urn:microsoft.com/office/officeart/2005/8/layout/hList1"/>
    <dgm:cxn modelId="{3C8D46EB-DCEC-469F-AD0C-6AFC7850CCD0}" type="presOf" srcId="{8A7D05F0-A755-4258-8CE5-C4E679530340}" destId="{EA2C901B-D538-4DDB-9614-5A4C9344B142}" srcOrd="0" destOrd="3" presId="urn:microsoft.com/office/officeart/2005/8/layout/hList1"/>
    <dgm:cxn modelId="{B12F56F1-E024-407C-A8EC-C0448AA82DF6}" srcId="{3B450845-F5BB-4CE6-B47D-780C61450250}" destId="{C31DF7F3-429D-4A7E-804D-27DDB358FCDF}" srcOrd="0" destOrd="0" parTransId="{A3671E02-C9E3-4330-94B7-DE9CAB6F9FD7}" sibTransId="{6E3838EF-BB6C-4EAF-853C-B5B569564807}"/>
    <dgm:cxn modelId="{BDFCC1F9-6D62-45A0-AB56-49D9BCC5FDBB}" type="presOf" srcId="{C31DF7F3-429D-4A7E-804D-27DDB358FCDF}" destId="{EA2C901B-D538-4DDB-9614-5A4C9344B142}" srcOrd="0" destOrd="0" presId="urn:microsoft.com/office/officeart/2005/8/layout/hList1"/>
    <dgm:cxn modelId="{DA4D4696-6D58-4592-92C5-73035DCB2764}" type="presParOf" srcId="{AC900BE7-2A45-4FE7-A493-F1D4A9618726}" destId="{1C97D4B8-0E23-4682-AB60-2B1D2761A805}" srcOrd="0" destOrd="0" presId="urn:microsoft.com/office/officeart/2005/8/layout/hList1"/>
    <dgm:cxn modelId="{9AC53FA3-4AAE-4D21-8D85-6FD66B330D37}" type="presParOf" srcId="{1C97D4B8-0E23-4682-AB60-2B1D2761A805}" destId="{7E583A91-EA65-49EF-9FBC-1A7D39AA642D}" srcOrd="0" destOrd="0" presId="urn:microsoft.com/office/officeart/2005/8/layout/hList1"/>
    <dgm:cxn modelId="{CBA2865A-38C5-4A2F-B76D-649ACE297889}" type="presParOf" srcId="{1C97D4B8-0E23-4682-AB60-2B1D2761A805}" destId="{EA2C901B-D538-4DDB-9614-5A4C9344B14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2B58FFA-3D3D-4791-B247-CA34619654FB}" type="doc">
      <dgm:prSet loTypeId="urn:microsoft.com/office/officeart/2005/8/layout/process2" loCatId="process" qsTypeId="urn:microsoft.com/office/officeart/2005/8/quickstyle/simple1" qsCatId="simple" csTypeId="urn:microsoft.com/office/officeart/2005/8/colors/colorful1" csCatId="colorful" phldr="1"/>
      <dgm:spPr/>
      <dgm:t>
        <a:bodyPr/>
        <a:lstStyle/>
        <a:p>
          <a:endParaRPr lang="en-US"/>
        </a:p>
      </dgm:t>
    </dgm:pt>
    <dgm:pt modelId="{4708D07F-59CF-4813-AE1A-C10C3496E0E4}">
      <dgm:prSet custT="1"/>
      <dgm:spPr/>
      <dgm:t>
        <a:bodyPr/>
        <a:lstStyle/>
        <a:p>
          <a:r>
            <a:rPr lang="en-US" sz="1600" baseline="0"/>
            <a:t>Create a new migration project.</a:t>
          </a:r>
          <a:endParaRPr lang="en-US" sz="1600"/>
        </a:p>
      </dgm:t>
    </dgm:pt>
    <dgm:pt modelId="{577E5B62-C44D-474F-A751-840DC83B6F45}" type="parTrans" cxnId="{33964A7A-C7AD-49C8-B1D1-F90C3D1A2AE1}">
      <dgm:prSet/>
      <dgm:spPr/>
      <dgm:t>
        <a:bodyPr/>
        <a:lstStyle/>
        <a:p>
          <a:endParaRPr lang="en-US"/>
        </a:p>
      </dgm:t>
    </dgm:pt>
    <dgm:pt modelId="{EB50AF0D-B05C-4299-B814-06C45023F9E1}" type="sibTrans" cxnId="{33964A7A-C7AD-49C8-B1D1-F90C3D1A2AE1}">
      <dgm:prSet custT="1"/>
      <dgm:spPr/>
      <dgm:t>
        <a:bodyPr/>
        <a:lstStyle/>
        <a:p>
          <a:endParaRPr lang="en-US" sz="1200"/>
        </a:p>
      </dgm:t>
    </dgm:pt>
    <dgm:pt modelId="{0998039B-99F8-4DD5-80DB-04A9EB5F3BDE}">
      <dgm:prSet custT="1"/>
      <dgm:spPr/>
      <dgm:t>
        <a:bodyPr/>
        <a:lstStyle/>
        <a:p>
          <a:r>
            <a:rPr lang="en-US" sz="1600" baseline="0"/>
            <a:t>Connect to the Source.</a:t>
          </a:r>
          <a:endParaRPr lang="en-US" sz="1600"/>
        </a:p>
      </dgm:t>
    </dgm:pt>
    <dgm:pt modelId="{CDA82D10-1C8E-49C2-B51F-C4E2E0365CC8}" type="parTrans" cxnId="{A100819F-2E47-4F1F-AC98-BAACECD397BC}">
      <dgm:prSet/>
      <dgm:spPr/>
      <dgm:t>
        <a:bodyPr/>
        <a:lstStyle/>
        <a:p>
          <a:endParaRPr lang="en-US"/>
        </a:p>
      </dgm:t>
    </dgm:pt>
    <dgm:pt modelId="{40AEF927-5F28-4527-9B1C-01B779F1C9B6}" type="sibTrans" cxnId="{A100819F-2E47-4F1F-AC98-BAACECD397BC}">
      <dgm:prSet custT="1"/>
      <dgm:spPr/>
      <dgm:t>
        <a:bodyPr/>
        <a:lstStyle/>
        <a:p>
          <a:endParaRPr lang="en-US" sz="1200"/>
        </a:p>
      </dgm:t>
    </dgm:pt>
    <dgm:pt modelId="{CF934884-A692-4126-A1C3-7A0E04D6E10D}">
      <dgm:prSet custT="1"/>
      <dgm:spPr/>
      <dgm:t>
        <a:bodyPr/>
        <a:lstStyle/>
        <a:p>
          <a:r>
            <a:rPr lang="en-US" sz="1600" baseline="0"/>
            <a:t>Select the Target.</a:t>
          </a:r>
          <a:endParaRPr lang="en-US" sz="1600"/>
        </a:p>
      </dgm:t>
    </dgm:pt>
    <dgm:pt modelId="{0B232C02-C1E8-4446-A52B-D04AC1A638F9}" type="parTrans" cxnId="{0CD94DDE-EEB8-4F08-A4A0-12A1AFC8AA14}">
      <dgm:prSet/>
      <dgm:spPr/>
      <dgm:t>
        <a:bodyPr/>
        <a:lstStyle/>
        <a:p>
          <a:endParaRPr lang="en-US"/>
        </a:p>
      </dgm:t>
    </dgm:pt>
    <dgm:pt modelId="{4C38A609-4653-46DE-AB26-1D023C92B1CE}" type="sibTrans" cxnId="{0CD94DDE-EEB8-4F08-A4A0-12A1AFC8AA14}">
      <dgm:prSet custT="1"/>
      <dgm:spPr/>
      <dgm:t>
        <a:bodyPr/>
        <a:lstStyle/>
        <a:p>
          <a:endParaRPr lang="en-US" sz="1200"/>
        </a:p>
      </dgm:t>
    </dgm:pt>
    <dgm:pt modelId="{491AADB0-1D5A-414C-9B73-ABD3D1E2A7B7}">
      <dgm:prSet custT="1"/>
      <dgm:spPr/>
      <dgm:t>
        <a:bodyPr/>
        <a:lstStyle/>
        <a:p>
          <a:r>
            <a:rPr lang="en-US" sz="1600" baseline="0"/>
            <a:t>Select the objects &amp; users to migrate.</a:t>
          </a:r>
          <a:endParaRPr lang="en-US" sz="1600"/>
        </a:p>
      </dgm:t>
    </dgm:pt>
    <dgm:pt modelId="{3FF7789F-CDCA-463D-98FB-C147F824F496}" type="parTrans" cxnId="{F2B2D1D6-1280-4180-8BC7-F8A1392676FB}">
      <dgm:prSet/>
      <dgm:spPr/>
      <dgm:t>
        <a:bodyPr/>
        <a:lstStyle/>
        <a:p>
          <a:endParaRPr lang="en-US"/>
        </a:p>
      </dgm:t>
    </dgm:pt>
    <dgm:pt modelId="{231660C2-5783-4B98-8130-5691C7410D0E}" type="sibTrans" cxnId="{F2B2D1D6-1280-4180-8BC7-F8A1392676FB}">
      <dgm:prSet custT="1"/>
      <dgm:spPr/>
      <dgm:t>
        <a:bodyPr/>
        <a:lstStyle/>
        <a:p>
          <a:endParaRPr lang="en-US" sz="1200"/>
        </a:p>
      </dgm:t>
    </dgm:pt>
    <dgm:pt modelId="{DA9AAACD-F8F9-4F67-BBA8-5BE02C373C8E}">
      <dgm:prSet custT="1"/>
      <dgm:spPr/>
      <dgm:t>
        <a:bodyPr/>
        <a:lstStyle/>
        <a:p>
          <a:r>
            <a:rPr lang="en-US" sz="1600" baseline="0"/>
            <a:t>Script &amp; Deploy Schema.</a:t>
          </a:r>
          <a:endParaRPr lang="en-US" sz="1600"/>
        </a:p>
      </dgm:t>
    </dgm:pt>
    <dgm:pt modelId="{B8F391DC-D558-49C5-A904-90AB46DAB865}" type="parTrans" cxnId="{B55A9531-E2BA-42E2-8BDA-34F10BE00F93}">
      <dgm:prSet/>
      <dgm:spPr/>
      <dgm:t>
        <a:bodyPr/>
        <a:lstStyle/>
        <a:p>
          <a:endParaRPr lang="en-US"/>
        </a:p>
      </dgm:t>
    </dgm:pt>
    <dgm:pt modelId="{E8D99CD0-3D17-4864-8981-0F9401B01B23}" type="sibTrans" cxnId="{B55A9531-E2BA-42E2-8BDA-34F10BE00F93}">
      <dgm:prSet custT="1"/>
      <dgm:spPr/>
      <dgm:t>
        <a:bodyPr/>
        <a:lstStyle/>
        <a:p>
          <a:endParaRPr lang="en-US" sz="1200"/>
        </a:p>
      </dgm:t>
    </dgm:pt>
    <dgm:pt modelId="{DB17155A-2F6E-4AEB-A92D-B4EF562227E3}">
      <dgm:prSet custT="1"/>
      <dgm:spPr/>
      <dgm:t>
        <a:bodyPr/>
        <a:lstStyle/>
        <a:p>
          <a:r>
            <a:rPr lang="en-US" sz="1600" baseline="0" dirty="0"/>
            <a:t>Select tables &amp; migrate data.</a:t>
          </a:r>
          <a:endParaRPr lang="en-US" sz="1600" dirty="0"/>
        </a:p>
      </dgm:t>
    </dgm:pt>
    <dgm:pt modelId="{A00A61F3-E8FE-4DE6-BCC4-3B467E2FA329}" type="parTrans" cxnId="{621B7831-36CC-4B93-80F4-55C82060A197}">
      <dgm:prSet/>
      <dgm:spPr/>
      <dgm:t>
        <a:bodyPr/>
        <a:lstStyle/>
        <a:p>
          <a:endParaRPr lang="en-US"/>
        </a:p>
      </dgm:t>
    </dgm:pt>
    <dgm:pt modelId="{E2998C72-99A3-4359-B908-994E320AC74A}" type="sibTrans" cxnId="{621B7831-36CC-4B93-80F4-55C82060A197}">
      <dgm:prSet/>
      <dgm:spPr/>
      <dgm:t>
        <a:bodyPr/>
        <a:lstStyle/>
        <a:p>
          <a:endParaRPr lang="en-US"/>
        </a:p>
      </dgm:t>
    </dgm:pt>
    <dgm:pt modelId="{63420ADA-C4D8-4275-82DF-E632EBFC06E4}" type="pres">
      <dgm:prSet presAssocID="{C2B58FFA-3D3D-4791-B247-CA34619654FB}" presName="linearFlow" presStyleCnt="0">
        <dgm:presLayoutVars>
          <dgm:resizeHandles val="exact"/>
        </dgm:presLayoutVars>
      </dgm:prSet>
      <dgm:spPr/>
    </dgm:pt>
    <dgm:pt modelId="{70FC1599-97B3-4C93-A87C-2C1D9B13C31D}" type="pres">
      <dgm:prSet presAssocID="{4708D07F-59CF-4813-AE1A-C10C3496E0E4}" presName="node" presStyleLbl="node1" presStyleIdx="0" presStyleCnt="6" custScaleX="161051" custScaleY="161051">
        <dgm:presLayoutVars>
          <dgm:bulletEnabled val="1"/>
        </dgm:presLayoutVars>
      </dgm:prSet>
      <dgm:spPr/>
    </dgm:pt>
    <dgm:pt modelId="{A2E947E4-16E3-4BF5-A301-22F66F6C939B}" type="pres">
      <dgm:prSet presAssocID="{EB50AF0D-B05C-4299-B814-06C45023F9E1}" presName="sibTrans" presStyleLbl="sibTrans2D1" presStyleIdx="0" presStyleCnt="5" custScaleX="161051" custScaleY="161051"/>
      <dgm:spPr/>
    </dgm:pt>
    <dgm:pt modelId="{C3FBB6F9-2527-4154-9D8C-B3693B5E9842}" type="pres">
      <dgm:prSet presAssocID="{EB50AF0D-B05C-4299-B814-06C45023F9E1}" presName="connectorText" presStyleLbl="sibTrans2D1" presStyleIdx="0" presStyleCnt="5"/>
      <dgm:spPr/>
    </dgm:pt>
    <dgm:pt modelId="{9999363D-B905-4AAB-8F1B-F9BDB3D0ADEF}" type="pres">
      <dgm:prSet presAssocID="{0998039B-99F8-4DD5-80DB-04A9EB5F3BDE}" presName="node" presStyleLbl="node1" presStyleIdx="1" presStyleCnt="6" custScaleX="161051" custScaleY="161051">
        <dgm:presLayoutVars>
          <dgm:bulletEnabled val="1"/>
        </dgm:presLayoutVars>
      </dgm:prSet>
      <dgm:spPr/>
    </dgm:pt>
    <dgm:pt modelId="{719710F7-D049-4BA0-9EAC-51373ED600E9}" type="pres">
      <dgm:prSet presAssocID="{40AEF927-5F28-4527-9B1C-01B779F1C9B6}" presName="sibTrans" presStyleLbl="sibTrans2D1" presStyleIdx="1" presStyleCnt="5" custScaleX="161051" custScaleY="161051"/>
      <dgm:spPr/>
    </dgm:pt>
    <dgm:pt modelId="{B326752D-3A1D-4BA0-8016-6ACE522F0AAE}" type="pres">
      <dgm:prSet presAssocID="{40AEF927-5F28-4527-9B1C-01B779F1C9B6}" presName="connectorText" presStyleLbl="sibTrans2D1" presStyleIdx="1" presStyleCnt="5"/>
      <dgm:spPr/>
    </dgm:pt>
    <dgm:pt modelId="{91387524-5115-467E-9AB4-B4F0B2211861}" type="pres">
      <dgm:prSet presAssocID="{CF934884-A692-4126-A1C3-7A0E04D6E10D}" presName="node" presStyleLbl="node1" presStyleIdx="2" presStyleCnt="6" custScaleX="161051" custScaleY="161051">
        <dgm:presLayoutVars>
          <dgm:bulletEnabled val="1"/>
        </dgm:presLayoutVars>
      </dgm:prSet>
      <dgm:spPr/>
    </dgm:pt>
    <dgm:pt modelId="{FB4D19AC-FDFB-4BBC-87A6-E6C9BC38149D}" type="pres">
      <dgm:prSet presAssocID="{4C38A609-4653-46DE-AB26-1D023C92B1CE}" presName="sibTrans" presStyleLbl="sibTrans2D1" presStyleIdx="2" presStyleCnt="5" custScaleX="161051" custScaleY="161051"/>
      <dgm:spPr/>
    </dgm:pt>
    <dgm:pt modelId="{E0BC1100-E684-4224-B384-861801E6817E}" type="pres">
      <dgm:prSet presAssocID="{4C38A609-4653-46DE-AB26-1D023C92B1CE}" presName="connectorText" presStyleLbl="sibTrans2D1" presStyleIdx="2" presStyleCnt="5"/>
      <dgm:spPr/>
    </dgm:pt>
    <dgm:pt modelId="{EFFA4675-13FE-41E8-AC80-BF1825BC5BF0}" type="pres">
      <dgm:prSet presAssocID="{491AADB0-1D5A-414C-9B73-ABD3D1E2A7B7}" presName="node" presStyleLbl="node1" presStyleIdx="3" presStyleCnt="6" custScaleX="161051" custScaleY="161051">
        <dgm:presLayoutVars>
          <dgm:bulletEnabled val="1"/>
        </dgm:presLayoutVars>
      </dgm:prSet>
      <dgm:spPr/>
    </dgm:pt>
    <dgm:pt modelId="{53F683D1-A395-4FD5-9A0A-77CAFC7DB973}" type="pres">
      <dgm:prSet presAssocID="{231660C2-5783-4B98-8130-5691C7410D0E}" presName="sibTrans" presStyleLbl="sibTrans2D1" presStyleIdx="3" presStyleCnt="5" custScaleX="161051" custScaleY="161051"/>
      <dgm:spPr/>
    </dgm:pt>
    <dgm:pt modelId="{AE7B136F-69DF-4A65-9142-409694AE7BB5}" type="pres">
      <dgm:prSet presAssocID="{231660C2-5783-4B98-8130-5691C7410D0E}" presName="connectorText" presStyleLbl="sibTrans2D1" presStyleIdx="3" presStyleCnt="5"/>
      <dgm:spPr/>
    </dgm:pt>
    <dgm:pt modelId="{9006022D-A3E7-451C-9478-F0118D72B893}" type="pres">
      <dgm:prSet presAssocID="{DA9AAACD-F8F9-4F67-BBA8-5BE02C373C8E}" presName="node" presStyleLbl="node1" presStyleIdx="4" presStyleCnt="6" custScaleX="161051" custScaleY="161051">
        <dgm:presLayoutVars>
          <dgm:bulletEnabled val="1"/>
        </dgm:presLayoutVars>
      </dgm:prSet>
      <dgm:spPr/>
    </dgm:pt>
    <dgm:pt modelId="{0B6E9185-94CC-4FD2-8DB6-908ED2AE4E72}" type="pres">
      <dgm:prSet presAssocID="{E8D99CD0-3D17-4864-8981-0F9401B01B23}" presName="sibTrans" presStyleLbl="sibTrans2D1" presStyleIdx="4" presStyleCnt="5" custScaleX="161051" custScaleY="161051"/>
      <dgm:spPr/>
    </dgm:pt>
    <dgm:pt modelId="{7C5FEDBF-D655-43ED-BBF5-4F3E6740449B}" type="pres">
      <dgm:prSet presAssocID="{E8D99CD0-3D17-4864-8981-0F9401B01B23}" presName="connectorText" presStyleLbl="sibTrans2D1" presStyleIdx="4" presStyleCnt="5"/>
      <dgm:spPr/>
    </dgm:pt>
    <dgm:pt modelId="{6E62E76E-01D8-4F08-9CB0-BB512EEB0549}" type="pres">
      <dgm:prSet presAssocID="{DB17155A-2F6E-4AEB-A92D-B4EF562227E3}" presName="node" presStyleLbl="node1" presStyleIdx="5" presStyleCnt="6" custScaleX="161051" custScaleY="161051">
        <dgm:presLayoutVars>
          <dgm:bulletEnabled val="1"/>
        </dgm:presLayoutVars>
      </dgm:prSet>
      <dgm:spPr/>
    </dgm:pt>
  </dgm:ptLst>
  <dgm:cxnLst>
    <dgm:cxn modelId="{CBE54305-CCF5-466A-93E3-18B6BE1499A5}" type="presOf" srcId="{DA9AAACD-F8F9-4F67-BBA8-5BE02C373C8E}" destId="{9006022D-A3E7-451C-9478-F0118D72B893}" srcOrd="0" destOrd="0" presId="urn:microsoft.com/office/officeart/2005/8/layout/process2"/>
    <dgm:cxn modelId="{B363FB17-F632-4ECB-BE1F-E60CB3AB71B2}" type="presOf" srcId="{E8D99CD0-3D17-4864-8981-0F9401B01B23}" destId="{7C5FEDBF-D655-43ED-BBF5-4F3E6740449B}" srcOrd="1" destOrd="0" presId="urn:microsoft.com/office/officeart/2005/8/layout/process2"/>
    <dgm:cxn modelId="{AE9EF21D-97CA-44DA-9739-ED49E9DDA41F}" type="presOf" srcId="{EB50AF0D-B05C-4299-B814-06C45023F9E1}" destId="{A2E947E4-16E3-4BF5-A301-22F66F6C939B}" srcOrd="0" destOrd="0" presId="urn:microsoft.com/office/officeart/2005/8/layout/process2"/>
    <dgm:cxn modelId="{621B7831-36CC-4B93-80F4-55C82060A197}" srcId="{C2B58FFA-3D3D-4791-B247-CA34619654FB}" destId="{DB17155A-2F6E-4AEB-A92D-B4EF562227E3}" srcOrd="5" destOrd="0" parTransId="{A00A61F3-E8FE-4DE6-BCC4-3B467E2FA329}" sibTransId="{E2998C72-99A3-4359-B908-994E320AC74A}"/>
    <dgm:cxn modelId="{B55A9531-E2BA-42E2-8BDA-34F10BE00F93}" srcId="{C2B58FFA-3D3D-4791-B247-CA34619654FB}" destId="{DA9AAACD-F8F9-4F67-BBA8-5BE02C373C8E}" srcOrd="4" destOrd="0" parTransId="{B8F391DC-D558-49C5-A904-90AB46DAB865}" sibTransId="{E8D99CD0-3D17-4864-8981-0F9401B01B23}"/>
    <dgm:cxn modelId="{73024E3D-25B2-4024-B9D3-7197EBDBEBAE}" type="presOf" srcId="{E8D99CD0-3D17-4864-8981-0F9401B01B23}" destId="{0B6E9185-94CC-4FD2-8DB6-908ED2AE4E72}" srcOrd="0" destOrd="0" presId="urn:microsoft.com/office/officeart/2005/8/layout/process2"/>
    <dgm:cxn modelId="{A5BBF94C-A7DF-4FD8-A324-DB79C5DEB35E}" type="presOf" srcId="{4708D07F-59CF-4813-AE1A-C10C3496E0E4}" destId="{70FC1599-97B3-4C93-A87C-2C1D9B13C31D}" srcOrd="0" destOrd="0" presId="urn:microsoft.com/office/officeart/2005/8/layout/process2"/>
    <dgm:cxn modelId="{B304374E-5AC5-48C3-81F9-65513F8DDB81}" type="presOf" srcId="{40AEF927-5F28-4527-9B1C-01B779F1C9B6}" destId="{719710F7-D049-4BA0-9EAC-51373ED600E9}" srcOrd="0" destOrd="0" presId="urn:microsoft.com/office/officeart/2005/8/layout/process2"/>
    <dgm:cxn modelId="{2BF19E70-B2BE-4559-825E-52C2E8F82689}" type="presOf" srcId="{40AEF927-5F28-4527-9B1C-01B779F1C9B6}" destId="{B326752D-3A1D-4BA0-8016-6ACE522F0AAE}" srcOrd="1" destOrd="0" presId="urn:microsoft.com/office/officeart/2005/8/layout/process2"/>
    <dgm:cxn modelId="{33964A7A-C7AD-49C8-B1D1-F90C3D1A2AE1}" srcId="{C2B58FFA-3D3D-4791-B247-CA34619654FB}" destId="{4708D07F-59CF-4813-AE1A-C10C3496E0E4}" srcOrd="0" destOrd="0" parTransId="{577E5B62-C44D-474F-A751-840DC83B6F45}" sibTransId="{EB50AF0D-B05C-4299-B814-06C45023F9E1}"/>
    <dgm:cxn modelId="{9E43FC8F-3620-4029-87B8-7B6B5962EA49}" type="presOf" srcId="{231660C2-5783-4B98-8130-5691C7410D0E}" destId="{AE7B136F-69DF-4A65-9142-409694AE7BB5}" srcOrd="1" destOrd="0" presId="urn:microsoft.com/office/officeart/2005/8/layout/process2"/>
    <dgm:cxn modelId="{35A4399A-C4DE-409A-B2CC-CEF1D33672F6}" type="presOf" srcId="{4C38A609-4653-46DE-AB26-1D023C92B1CE}" destId="{E0BC1100-E684-4224-B384-861801E6817E}" srcOrd="1" destOrd="0" presId="urn:microsoft.com/office/officeart/2005/8/layout/process2"/>
    <dgm:cxn modelId="{67CE6B9A-897F-464B-B8E9-56C8DE8FF73F}" type="presOf" srcId="{EB50AF0D-B05C-4299-B814-06C45023F9E1}" destId="{C3FBB6F9-2527-4154-9D8C-B3693B5E9842}" srcOrd="1" destOrd="0" presId="urn:microsoft.com/office/officeart/2005/8/layout/process2"/>
    <dgm:cxn modelId="{8817639F-0F3A-48B0-B7F0-8D8CC54A0C2B}" type="presOf" srcId="{CF934884-A692-4126-A1C3-7A0E04D6E10D}" destId="{91387524-5115-467E-9AB4-B4F0B2211861}" srcOrd="0" destOrd="0" presId="urn:microsoft.com/office/officeart/2005/8/layout/process2"/>
    <dgm:cxn modelId="{A100819F-2E47-4F1F-AC98-BAACECD397BC}" srcId="{C2B58FFA-3D3D-4791-B247-CA34619654FB}" destId="{0998039B-99F8-4DD5-80DB-04A9EB5F3BDE}" srcOrd="1" destOrd="0" parTransId="{CDA82D10-1C8E-49C2-B51F-C4E2E0365CC8}" sibTransId="{40AEF927-5F28-4527-9B1C-01B779F1C9B6}"/>
    <dgm:cxn modelId="{F2EC4AA1-CB96-4268-B1D8-9E9B1C8E47D5}" type="presOf" srcId="{491AADB0-1D5A-414C-9B73-ABD3D1E2A7B7}" destId="{EFFA4675-13FE-41E8-AC80-BF1825BC5BF0}" srcOrd="0" destOrd="0" presId="urn:microsoft.com/office/officeart/2005/8/layout/process2"/>
    <dgm:cxn modelId="{7513E2A5-EECC-4827-8687-F5F189E75204}" type="presOf" srcId="{231660C2-5783-4B98-8130-5691C7410D0E}" destId="{53F683D1-A395-4FD5-9A0A-77CAFC7DB973}" srcOrd="0" destOrd="0" presId="urn:microsoft.com/office/officeart/2005/8/layout/process2"/>
    <dgm:cxn modelId="{CEDDCCCD-A928-4AEF-A9C4-8A09AFDD0A40}" type="presOf" srcId="{0998039B-99F8-4DD5-80DB-04A9EB5F3BDE}" destId="{9999363D-B905-4AAB-8F1B-F9BDB3D0ADEF}" srcOrd="0" destOrd="0" presId="urn:microsoft.com/office/officeart/2005/8/layout/process2"/>
    <dgm:cxn modelId="{F2B2D1D6-1280-4180-8BC7-F8A1392676FB}" srcId="{C2B58FFA-3D3D-4791-B247-CA34619654FB}" destId="{491AADB0-1D5A-414C-9B73-ABD3D1E2A7B7}" srcOrd="3" destOrd="0" parTransId="{3FF7789F-CDCA-463D-98FB-C147F824F496}" sibTransId="{231660C2-5783-4B98-8130-5691C7410D0E}"/>
    <dgm:cxn modelId="{0CD94DDE-EEB8-4F08-A4A0-12A1AFC8AA14}" srcId="{C2B58FFA-3D3D-4791-B247-CA34619654FB}" destId="{CF934884-A692-4126-A1C3-7A0E04D6E10D}" srcOrd="2" destOrd="0" parTransId="{0B232C02-C1E8-4446-A52B-D04AC1A638F9}" sibTransId="{4C38A609-4653-46DE-AB26-1D023C92B1CE}"/>
    <dgm:cxn modelId="{4C9173EE-4428-416A-A4A3-B24E59579D28}" type="presOf" srcId="{4C38A609-4653-46DE-AB26-1D023C92B1CE}" destId="{FB4D19AC-FDFB-4BBC-87A6-E6C9BC38149D}" srcOrd="0" destOrd="0" presId="urn:microsoft.com/office/officeart/2005/8/layout/process2"/>
    <dgm:cxn modelId="{22BC53F5-27B5-42FC-828A-A81536C3033B}" type="presOf" srcId="{DB17155A-2F6E-4AEB-A92D-B4EF562227E3}" destId="{6E62E76E-01D8-4F08-9CB0-BB512EEB0549}" srcOrd="0" destOrd="0" presId="urn:microsoft.com/office/officeart/2005/8/layout/process2"/>
    <dgm:cxn modelId="{54BF7DFF-710B-449F-ACC0-0FFF937992E7}" type="presOf" srcId="{C2B58FFA-3D3D-4791-B247-CA34619654FB}" destId="{63420ADA-C4D8-4275-82DF-E632EBFC06E4}" srcOrd="0" destOrd="0" presId="urn:microsoft.com/office/officeart/2005/8/layout/process2"/>
    <dgm:cxn modelId="{40D51FE1-05B9-4829-B5E4-1A63F5BA768D}" type="presParOf" srcId="{63420ADA-C4D8-4275-82DF-E632EBFC06E4}" destId="{70FC1599-97B3-4C93-A87C-2C1D9B13C31D}" srcOrd="0" destOrd="0" presId="urn:microsoft.com/office/officeart/2005/8/layout/process2"/>
    <dgm:cxn modelId="{61851C8D-4341-4720-98D9-00795ACF26B0}" type="presParOf" srcId="{63420ADA-C4D8-4275-82DF-E632EBFC06E4}" destId="{A2E947E4-16E3-4BF5-A301-22F66F6C939B}" srcOrd="1" destOrd="0" presId="urn:microsoft.com/office/officeart/2005/8/layout/process2"/>
    <dgm:cxn modelId="{4AF0AAA7-63C6-47F8-835B-76683DC918D9}" type="presParOf" srcId="{A2E947E4-16E3-4BF5-A301-22F66F6C939B}" destId="{C3FBB6F9-2527-4154-9D8C-B3693B5E9842}" srcOrd="0" destOrd="0" presId="urn:microsoft.com/office/officeart/2005/8/layout/process2"/>
    <dgm:cxn modelId="{D9638F9F-E4DA-4FB5-BB7E-572A9547BBD0}" type="presParOf" srcId="{63420ADA-C4D8-4275-82DF-E632EBFC06E4}" destId="{9999363D-B905-4AAB-8F1B-F9BDB3D0ADEF}" srcOrd="2" destOrd="0" presId="urn:microsoft.com/office/officeart/2005/8/layout/process2"/>
    <dgm:cxn modelId="{02525E4E-5DE9-4779-8A70-C47B18CD0FFF}" type="presParOf" srcId="{63420ADA-C4D8-4275-82DF-E632EBFC06E4}" destId="{719710F7-D049-4BA0-9EAC-51373ED600E9}" srcOrd="3" destOrd="0" presId="urn:microsoft.com/office/officeart/2005/8/layout/process2"/>
    <dgm:cxn modelId="{2F0F614A-C1DD-4B1E-BC88-136CF2C5CF56}" type="presParOf" srcId="{719710F7-D049-4BA0-9EAC-51373ED600E9}" destId="{B326752D-3A1D-4BA0-8016-6ACE522F0AAE}" srcOrd="0" destOrd="0" presId="urn:microsoft.com/office/officeart/2005/8/layout/process2"/>
    <dgm:cxn modelId="{A3ACB91D-BB6B-4C08-B79C-651F19C29CDA}" type="presParOf" srcId="{63420ADA-C4D8-4275-82DF-E632EBFC06E4}" destId="{91387524-5115-467E-9AB4-B4F0B2211861}" srcOrd="4" destOrd="0" presId="urn:microsoft.com/office/officeart/2005/8/layout/process2"/>
    <dgm:cxn modelId="{9E095638-A822-43DD-AD94-8E3040BCC755}" type="presParOf" srcId="{63420ADA-C4D8-4275-82DF-E632EBFC06E4}" destId="{FB4D19AC-FDFB-4BBC-87A6-E6C9BC38149D}" srcOrd="5" destOrd="0" presId="urn:microsoft.com/office/officeart/2005/8/layout/process2"/>
    <dgm:cxn modelId="{177FC1D7-FBD5-4083-9504-DD046A10609C}" type="presParOf" srcId="{FB4D19AC-FDFB-4BBC-87A6-E6C9BC38149D}" destId="{E0BC1100-E684-4224-B384-861801E6817E}" srcOrd="0" destOrd="0" presId="urn:microsoft.com/office/officeart/2005/8/layout/process2"/>
    <dgm:cxn modelId="{C4FF7BC4-7025-4711-A4F4-BCEA16114B3A}" type="presParOf" srcId="{63420ADA-C4D8-4275-82DF-E632EBFC06E4}" destId="{EFFA4675-13FE-41E8-AC80-BF1825BC5BF0}" srcOrd="6" destOrd="0" presId="urn:microsoft.com/office/officeart/2005/8/layout/process2"/>
    <dgm:cxn modelId="{CB3BB847-7E37-448D-B4CB-052585EB4D89}" type="presParOf" srcId="{63420ADA-C4D8-4275-82DF-E632EBFC06E4}" destId="{53F683D1-A395-4FD5-9A0A-77CAFC7DB973}" srcOrd="7" destOrd="0" presId="urn:microsoft.com/office/officeart/2005/8/layout/process2"/>
    <dgm:cxn modelId="{2252ED42-B6EF-42EB-B1CC-86DF47126C70}" type="presParOf" srcId="{53F683D1-A395-4FD5-9A0A-77CAFC7DB973}" destId="{AE7B136F-69DF-4A65-9142-409694AE7BB5}" srcOrd="0" destOrd="0" presId="urn:microsoft.com/office/officeart/2005/8/layout/process2"/>
    <dgm:cxn modelId="{3E76FF7B-F018-4751-84B3-EB24D20E28C2}" type="presParOf" srcId="{63420ADA-C4D8-4275-82DF-E632EBFC06E4}" destId="{9006022D-A3E7-451C-9478-F0118D72B893}" srcOrd="8" destOrd="0" presId="urn:microsoft.com/office/officeart/2005/8/layout/process2"/>
    <dgm:cxn modelId="{BF531D62-F087-4F4C-86B6-A6F97BDEB5DE}" type="presParOf" srcId="{63420ADA-C4D8-4275-82DF-E632EBFC06E4}" destId="{0B6E9185-94CC-4FD2-8DB6-908ED2AE4E72}" srcOrd="9" destOrd="0" presId="urn:microsoft.com/office/officeart/2005/8/layout/process2"/>
    <dgm:cxn modelId="{B6D24F9A-1E80-49BA-9624-77E910447B49}" type="presParOf" srcId="{0B6E9185-94CC-4FD2-8DB6-908ED2AE4E72}" destId="{7C5FEDBF-D655-43ED-BBF5-4F3E6740449B}" srcOrd="0" destOrd="0" presId="urn:microsoft.com/office/officeart/2005/8/layout/process2"/>
    <dgm:cxn modelId="{1A409D91-A874-4A34-BC7B-EFC3E3D2CF6E}" type="presParOf" srcId="{63420ADA-C4D8-4275-82DF-E632EBFC06E4}" destId="{6E62E76E-01D8-4F08-9CB0-BB512EEB0549}" srcOrd="10"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D92E88E-9BB5-466B-A969-55B05C08B10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CDA745D-87C0-47EE-8CB1-81949C5713A8}">
      <dgm:prSet/>
      <dgm:spPr/>
      <dgm:t>
        <a:bodyPr/>
        <a:lstStyle/>
        <a:p>
          <a:r>
            <a:rPr lang="en-US" baseline="0"/>
            <a:t>Used for much larger databases to achieve greater parallelization for increased performance.</a:t>
          </a:r>
          <a:endParaRPr lang="en-US"/>
        </a:p>
      </dgm:t>
    </dgm:pt>
    <dgm:pt modelId="{EC60B848-B563-496E-A91A-1D20C66CC43C}" type="parTrans" cxnId="{DCE34EC9-1705-44F9-9FDD-12A8B88CFDA0}">
      <dgm:prSet/>
      <dgm:spPr/>
      <dgm:t>
        <a:bodyPr/>
        <a:lstStyle/>
        <a:p>
          <a:endParaRPr lang="en-US"/>
        </a:p>
      </dgm:t>
    </dgm:pt>
    <dgm:pt modelId="{678D8327-BD05-487C-92BC-7A329F6BB0F6}" type="sibTrans" cxnId="{DCE34EC9-1705-44F9-9FDD-12A8B88CFDA0}">
      <dgm:prSet/>
      <dgm:spPr/>
      <dgm:t>
        <a:bodyPr/>
        <a:lstStyle/>
        <a:p>
          <a:endParaRPr lang="en-US"/>
        </a:p>
      </dgm:t>
    </dgm:pt>
    <dgm:pt modelId="{CA5F093A-0BFE-47B2-8475-ECD2F71E1E6F}">
      <dgm:prSet/>
      <dgm:spPr/>
      <dgm:t>
        <a:bodyPr/>
        <a:lstStyle/>
        <a:p>
          <a:r>
            <a:rPr lang="en-US" baseline="0" dirty="0"/>
            <a:t>Migrate the schema and the data separately:</a:t>
          </a:r>
          <a:endParaRPr lang="en-US" dirty="0"/>
        </a:p>
      </dgm:t>
    </dgm:pt>
    <dgm:pt modelId="{DFE1D2E8-7BB8-4155-AF00-221236F23AA8}" type="parTrans" cxnId="{EE353933-AC88-4712-A17F-AEB006520A55}">
      <dgm:prSet/>
      <dgm:spPr/>
      <dgm:t>
        <a:bodyPr/>
        <a:lstStyle/>
        <a:p>
          <a:endParaRPr lang="en-US"/>
        </a:p>
      </dgm:t>
    </dgm:pt>
    <dgm:pt modelId="{19303711-31AD-4629-B549-51A900D66F77}" type="sibTrans" cxnId="{EE353933-AC88-4712-A17F-AEB006520A55}">
      <dgm:prSet/>
      <dgm:spPr/>
      <dgm:t>
        <a:bodyPr/>
        <a:lstStyle/>
        <a:p>
          <a:endParaRPr lang="en-US"/>
        </a:p>
      </dgm:t>
    </dgm:pt>
    <dgm:pt modelId="{A24458EB-9A08-47B0-9D07-5CC32FF766B7}">
      <dgm:prSet/>
      <dgm:spPr/>
      <dgm:t>
        <a:bodyPr/>
        <a:lstStyle/>
        <a:p>
          <a:r>
            <a:rPr lang="en-US" baseline="0" dirty="0"/>
            <a:t>Export the schema only to a DACPAC file.</a:t>
          </a:r>
          <a:endParaRPr lang="en-US" dirty="0"/>
        </a:p>
      </dgm:t>
    </dgm:pt>
    <dgm:pt modelId="{825CD92C-422F-40D4-9B59-347EC871DB3B}" type="parTrans" cxnId="{244FA63C-55E1-477B-806F-6961A7847723}">
      <dgm:prSet/>
      <dgm:spPr/>
      <dgm:t>
        <a:bodyPr/>
        <a:lstStyle/>
        <a:p>
          <a:endParaRPr lang="en-US"/>
        </a:p>
      </dgm:t>
    </dgm:pt>
    <dgm:pt modelId="{BACA19CB-BC7F-4591-869D-027312F7153A}" type="sibTrans" cxnId="{244FA63C-55E1-477B-806F-6961A7847723}">
      <dgm:prSet/>
      <dgm:spPr/>
      <dgm:t>
        <a:bodyPr/>
        <a:lstStyle/>
        <a:p>
          <a:endParaRPr lang="en-US"/>
        </a:p>
      </dgm:t>
    </dgm:pt>
    <dgm:pt modelId="{3B904B63-39A6-4916-B289-89967D1496CB}">
      <dgm:prSet/>
      <dgm:spPr/>
      <dgm:t>
        <a:bodyPr/>
        <a:lstStyle/>
        <a:p>
          <a:r>
            <a:rPr lang="en-US" baseline="0" dirty="0"/>
            <a:t>Import the schema only from the DACPAC File into SQL Database.</a:t>
          </a:r>
          <a:endParaRPr lang="en-US" dirty="0"/>
        </a:p>
      </dgm:t>
    </dgm:pt>
    <dgm:pt modelId="{F739DC36-DECE-4596-936B-87646DAB76A8}" type="parTrans" cxnId="{30A14E13-EE50-48A5-9EA3-675C53B9CF80}">
      <dgm:prSet/>
      <dgm:spPr/>
      <dgm:t>
        <a:bodyPr/>
        <a:lstStyle/>
        <a:p>
          <a:endParaRPr lang="en-US"/>
        </a:p>
      </dgm:t>
    </dgm:pt>
    <dgm:pt modelId="{3B23EE67-BE21-4543-A37A-46067B7F58FF}" type="sibTrans" cxnId="{30A14E13-EE50-48A5-9EA3-675C53B9CF80}">
      <dgm:prSet/>
      <dgm:spPr/>
      <dgm:t>
        <a:bodyPr/>
        <a:lstStyle/>
        <a:p>
          <a:endParaRPr lang="en-US"/>
        </a:p>
      </dgm:t>
    </dgm:pt>
    <dgm:pt modelId="{222A8CBC-6DAB-4A90-8169-502CF8C7479B}">
      <dgm:prSet/>
      <dgm:spPr/>
      <dgm:t>
        <a:bodyPr/>
        <a:lstStyle/>
        <a:p>
          <a:r>
            <a:rPr lang="en-US" baseline="0" dirty="0"/>
            <a:t>Use BCP to extract the data into flat files and then parallel load these files into the Azure SQL Database.</a:t>
          </a:r>
          <a:endParaRPr lang="en-US" dirty="0"/>
        </a:p>
      </dgm:t>
    </dgm:pt>
    <dgm:pt modelId="{446AA2B9-4BCB-4E91-A464-4A46F7F5EDD0}" type="parTrans" cxnId="{216BAAD1-785B-48E1-AB69-1C2CAF1162D2}">
      <dgm:prSet/>
      <dgm:spPr/>
      <dgm:t>
        <a:bodyPr/>
        <a:lstStyle/>
        <a:p>
          <a:endParaRPr lang="en-US"/>
        </a:p>
      </dgm:t>
    </dgm:pt>
    <dgm:pt modelId="{CCE1C57D-45A2-49A4-9B3C-69F326851BB2}" type="sibTrans" cxnId="{216BAAD1-785B-48E1-AB69-1C2CAF1162D2}">
      <dgm:prSet/>
      <dgm:spPr/>
      <dgm:t>
        <a:bodyPr/>
        <a:lstStyle/>
        <a:p>
          <a:endParaRPr lang="en-US"/>
        </a:p>
      </dgm:t>
    </dgm:pt>
    <dgm:pt modelId="{9E5FBAFA-EF20-4C2F-A705-819FF0E2284E}">
      <dgm:prSet/>
      <dgm:spPr/>
      <dgm:t>
        <a:bodyPr/>
        <a:lstStyle/>
        <a:p>
          <a:r>
            <a:rPr lang="en-US" baseline="0" dirty="0"/>
            <a:t>Investigate using SQLPackage.exe</a:t>
          </a:r>
          <a:endParaRPr lang="en-US" dirty="0"/>
        </a:p>
      </dgm:t>
    </dgm:pt>
    <dgm:pt modelId="{F964AE2D-6B56-4CCF-BB90-EAE1BF2263C3}" type="parTrans" cxnId="{647238C1-E86B-40FB-9DCB-F0F2B0DEFE40}">
      <dgm:prSet/>
      <dgm:spPr/>
      <dgm:t>
        <a:bodyPr/>
        <a:lstStyle/>
        <a:p>
          <a:endParaRPr lang="en-US"/>
        </a:p>
      </dgm:t>
    </dgm:pt>
    <dgm:pt modelId="{A2E34832-3BC6-49E6-9D85-1F3418ADA747}" type="sibTrans" cxnId="{647238C1-E86B-40FB-9DCB-F0F2B0DEFE40}">
      <dgm:prSet/>
      <dgm:spPr/>
      <dgm:t>
        <a:bodyPr/>
        <a:lstStyle/>
        <a:p>
          <a:endParaRPr lang="en-US"/>
        </a:p>
      </dgm:t>
    </dgm:pt>
    <dgm:pt modelId="{CA6C9138-E1B1-491C-97DA-6BD696F3A9D8}" type="pres">
      <dgm:prSet presAssocID="{8D92E88E-9BB5-466B-A969-55B05C08B10A}" presName="linear" presStyleCnt="0">
        <dgm:presLayoutVars>
          <dgm:animLvl val="lvl"/>
          <dgm:resizeHandles val="exact"/>
        </dgm:presLayoutVars>
      </dgm:prSet>
      <dgm:spPr/>
    </dgm:pt>
    <dgm:pt modelId="{F0D8F0A0-CAF0-41A0-B293-16D6B03412E0}" type="pres">
      <dgm:prSet presAssocID="{5CDA745D-87C0-47EE-8CB1-81949C5713A8}" presName="parentText" presStyleLbl="node1" presStyleIdx="0" presStyleCnt="2">
        <dgm:presLayoutVars>
          <dgm:chMax val="0"/>
          <dgm:bulletEnabled val="1"/>
        </dgm:presLayoutVars>
      </dgm:prSet>
      <dgm:spPr/>
    </dgm:pt>
    <dgm:pt modelId="{A923AECE-53A1-4825-89E8-608E10A6D28B}" type="pres">
      <dgm:prSet presAssocID="{678D8327-BD05-487C-92BC-7A329F6BB0F6}" presName="spacer" presStyleCnt="0"/>
      <dgm:spPr/>
    </dgm:pt>
    <dgm:pt modelId="{53760BB8-9052-47FF-926F-D7AD6CDAF182}" type="pres">
      <dgm:prSet presAssocID="{CA5F093A-0BFE-47B2-8475-ECD2F71E1E6F}" presName="parentText" presStyleLbl="node1" presStyleIdx="1" presStyleCnt="2">
        <dgm:presLayoutVars>
          <dgm:chMax val="0"/>
          <dgm:bulletEnabled val="1"/>
        </dgm:presLayoutVars>
      </dgm:prSet>
      <dgm:spPr/>
    </dgm:pt>
    <dgm:pt modelId="{A9EC191E-A98A-498C-B659-DC218F38CA75}" type="pres">
      <dgm:prSet presAssocID="{CA5F093A-0BFE-47B2-8475-ECD2F71E1E6F}" presName="childText" presStyleLbl="revTx" presStyleIdx="0" presStyleCnt="1">
        <dgm:presLayoutVars>
          <dgm:bulletEnabled val="1"/>
        </dgm:presLayoutVars>
      </dgm:prSet>
      <dgm:spPr/>
    </dgm:pt>
  </dgm:ptLst>
  <dgm:cxnLst>
    <dgm:cxn modelId="{30A14E13-EE50-48A5-9EA3-675C53B9CF80}" srcId="{CA5F093A-0BFE-47B2-8475-ECD2F71E1E6F}" destId="{3B904B63-39A6-4916-B289-89967D1496CB}" srcOrd="1" destOrd="0" parTransId="{F739DC36-DECE-4596-936B-87646DAB76A8}" sibTransId="{3B23EE67-BE21-4543-A37A-46067B7F58FF}"/>
    <dgm:cxn modelId="{EE353933-AC88-4712-A17F-AEB006520A55}" srcId="{8D92E88E-9BB5-466B-A969-55B05C08B10A}" destId="{CA5F093A-0BFE-47B2-8475-ECD2F71E1E6F}" srcOrd="1" destOrd="0" parTransId="{DFE1D2E8-7BB8-4155-AF00-221236F23AA8}" sibTransId="{19303711-31AD-4629-B549-51A900D66F77}"/>
    <dgm:cxn modelId="{244FA63C-55E1-477B-806F-6961A7847723}" srcId="{CA5F093A-0BFE-47B2-8475-ECD2F71E1E6F}" destId="{A24458EB-9A08-47B0-9D07-5CC32FF766B7}" srcOrd="0" destOrd="0" parTransId="{825CD92C-422F-40D4-9B59-347EC871DB3B}" sibTransId="{BACA19CB-BC7F-4591-869D-027312F7153A}"/>
    <dgm:cxn modelId="{9B6C9663-14D3-4998-9672-DDC4B5EC6992}" type="presOf" srcId="{9E5FBAFA-EF20-4C2F-A705-819FF0E2284E}" destId="{A9EC191E-A98A-498C-B659-DC218F38CA75}" srcOrd="0" destOrd="3" presId="urn:microsoft.com/office/officeart/2005/8/layout/vList2"/>
    <dgm:cxn modelId="{B1097872-029B-4212-89D5-2F92492BE7C9}" type="presOf" srcId="{CA5F093A-0BFE-47B2-8475-ECD2F71E1E6F}" destId="{53760BB8-9052-47FF-926F-D7AD6CDAF182}" srcOrd="0" destOrd="0" presId="urn:microsoft.com/office/officeart/2005/8/layout/vList2"/>
    <dgm:cxn modelId="{03E0BF89-4D53-4C76-8CDA-A827E0F71D76}" type="presOf" srcId="{8D92E88E-9BB5-466B-A969-55B05C08B10A}" destId="{CA6C9138-E1B1-491C-97DA-6BD696F3A9D8}" srcOrd="0" destOrd="0" presId="urn:microsoft.com/office/officeart/2005/8/layout/vList2"/>
    <dgm:cxn modelId="{7372779C-592E-4E23-A380-020E6E8D0AB5}" type="presOf" srcId="{5CDA745D-87C0-47EE-8CB1-81949C5713A8}" destId="{F0D8F0A0-CAF0-41A0-B293-16D6B03412E0}" srcOrd="0" destOrd="0" presId="urn:microsoft.com/office/officeart/2005/8/layout/vList2"/>
    <dgm:cxn modelId="{CFAF089D-3A20-4A16-A824-6D73DFDBC745}" type="presOf" srcId="{3B904B63-39A6-4916-B289-89967D1496CB}" destId="{A9EC191E-A98A-498C-B659-DC218F38CA75}" srcOrd="0" destOrd="1" presId="urn:microsoft.com/office/officeart/2005/8/layout/vList2"/>
    <dgm:cxn modelId="{97F21DBB-00FE-478A-913D-5D627DBF9530}" type="presOf" srcId="{222A8CBC-6DAB-4A90-8169-502CF8C7479B}" destId="{A9EC191E-A98A-498C-B659-DC218F38CA75}" srcOrd="0" destOrd="2" presId="urn:microsoft.com/office/officeart/2005/8/layout/vList2"/>
    <dgm:cxn modelId="{647238C1-E86B-40FB-9DCB-F0F2B0DEFE40}" srcId="{CA5F093A-0BFE-47B2-8475-ECD2F71E1E6F}" destId="{9E5FBAFA-EF20-4C2F-A705-819FF0E2284E}" srcOrd="3" destOrd="0" parTransId="{F964AE2D-6B56-4CCF-BB90-EAE1BF2263C3}" sibTransId="{A2E34832-3BC6-49E6-9D85-1F3418ADA747}"/>
    <dgm:cxn modelId="{DCE34EC9-1705-44F9-9FDD-12A8B88CFDA0}" srcId="{8D92E88E-9BB5-466B-A969-55B05C08B10A}" destId="{5CDA745D-87C0-47EE-8CB1-81949C5713A8}" srcOrd="0" destOrd="0" parTransId="{EC60B848-B563-496E-A91A-1D20C66CC43C}" sibTransId="{678D8327-BD05-487C-92BC-7A329F6BB0F6}"/>
    <dgm:cxn modelId="{216BAAD1-785B-48E1-AB69-1C2CAF1162D2}" srcId="{CA5F093A-0BFE-47B2-8475-ECD2F71E1E6F}" destId="{222A8CBC-6DAB-4A90-8169-502CF8C7479B}" srcOrd="2" destOrd="0" parTransId="{446AA2B9-4BCB-4E91-A464-4A46F7F5EDD0}" sibTransId="{CCE1C57D-45A2-49A4-9B3C-69F326851BB2}"/>
    <dgm:cxn modelId="{BC1CC8F4-3ED3-428C-A0A5-85308939E38A}" type="presOf" srcId="{A24458EB-9A08-47B0-9D07-5CC32FF766B7}" destId="{A9EC191E-A98A-498C-B659-DC218F38CA75}" srcOrd="0" destOrd="0" presId="urn:microsoft.com/office/officeart/2005/8/layout/vList2"/>
    <dgm:cxn modelId="{A742A656-D9AA-4252-BD29-E137AB4A28F7}" type="presParOf" srcId="{CA6C9138-E1B1-491C-97DA-6BD696F3A9D8}" destId="{F0D8F0A0-CAF0-41A0-B293-16D6B03412E0}" srcOrd="0" destOrd="0" presId="urn:microsoft.com/office/officeart/2005/8/layout/vList2"/>
    <dgm:cxn modelId="{3CE1B4BF-8BC4-4B69-B434-EAA207D7E19E}" type="presParOf" srcId="{CA6C9138-E1B1-491C-97DA-6BD696F3A9D8}" destId="{A923AECE-53A1-4825-89E8-608E10A6D28B}" srcOrd="1" destOrd="0" presId="urn:microsoft.com/office/officeart/2005/8/layout/vList2"/>
    <dgm:cxn modelId="{67BB22CD-3A82-4D05-9478-EDCB17307508}" type="presParOf" srcId="{CA6C9138-E1B1-491C-97DA-6BD696F3A9D8}" destId="{53760BB8-9052-47FF-926F-D7AD6CDAF182}" srcOrd="2" destOrd="0" presId="urn:microsoft.com/office/officeart/2005/8/layout/vList2"/>
    <dgm:cxn modelId="{6E003339-70D1-4A88-9153-B38F85F4B059}" type="presParOf" srcId="{CA6C9138-E1B1-491C-97DA-6BD696F3A9D8}" destId="{A9EC191E-A98A-498C-B659-DC218F38CA7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0054E3E-3987-4C46-B2DB-457D85E5829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D062299-D4B5-429F-9B2A-98025D4BC22A}">
      <dgm:prSet/>
      <dgm:spPr/>
      <dgm:t>
        <a:bodyPr/>
        <a:lstStyle/>
        <a:p>
          <a:r>
            <a:rPr lang="en-US" baseline="0" dirty="0"/>
            <a:t>Used will have minimal downtime during migration.</a:t>
          </a:r>
          <a:endParaRPr lang="en-US" dirty="0"/>
        </a:p>
      </dgm:t>
    </dgm:pt>
    <dgm:pt modelId="{7BF283BD-8220-4B3F-8762-FE4DE04FDD0E}" type="parTrans" cxnId="{26826FD0-F9B4-4C66-BF85-A368F7A15EC8}">
      <dgm:prSet/>
      <dgm:spPr/>
      <dgm:t>
        <a:bodyPr/>
        <a:lstStyle/>
        <a:p>
          <a:endParaRPr lang="en-US"/>
        </a:p>
      </dgm:t>
    </dgm:pt>
    <dgm:pt modelId="{BA2093A4-A9E4-420C-9753-79F633BEFCE0}" type="sibTrans" cxnId="{26826FD0-F9B4-4C66-BF85-A368F7A15EC8}">
      <dgm:prSet/>
      <dgm:spPr/>
      <dgm:t>
        <a:bodyPr/>
        <a:lstStyle/>
        <a:p>
          <a:endParaRPr lang="en-US"/>
        </a:p>
      </dgm:t>
    </dgm:pt>
    <dgm:pt modelId="{EAF431AE-4A52-4EC2-B614-6A4CEB0C1D50}">
      <dgm:prSet/>
      <dgm:spPr/>
      <dgm:t>
        <a:bodyPr/>
        <a:lstStyle/>
        <a:p>
          <a:r>
            <a:rPr lang="en-US" baseline="0"/>
            <a:t>Configure your Azure SQL Database as a subscriber.</a:t>
          </a:r>
          <a:endParaRPr lang="en-US"/>
        </a:p>
      </dgm:t>
    </dgm:pt>
    <dgm:pt modelId="{A26D9AC5-65D2-4A96-86DF-0C29510DA98B}" type="parTrans" cxnId="{A513F05A-3FC4-4E81-A05D-9BC477893C99}">
      <dgm:prSet/>
      <dgm:spPr/>
      <dgm:t>
        <a:bodyPr/>
        <a:lstStyle/>
        <a:p>
          <a:endParaRPr lang="en-US"/>
        </a:p>
      </dgm:t>
    </dgm:pt>
    <dgm:pt modelId="{021689EC-A87A-49BA-8D6F-3289C1D22DDF}" type="sibTrans" cxnId="{A513F05A-3FC4-4E81-A05D-9BC477893C99}">
      <dgm:prSet/>
      <dgm:spPr/>
      <dgm:t>
        <a:bodyPr/>
        <a:lstStyle/>
        <a:p>
          <a:endParaRPr lang="en-US"/>
        </a:p>
      </dgm:t>
    </dgm:pt>
    <dgm:pt modelId="{A83912AA-F676-4FF2-A374-5140CCF2EDA1}">
      <dgm:prSet/>
      <dgm:spPr/>
      <dgm:t>
        <a:bodyPr/>
        <a:lstStyle/>
        <a:p>
          <a:r>
            <a:rPr lang="en-US" baseline="0" dirty="0"/>
            <a:t>All changes to your data or schema show up in your Azure SQL Database.</a:t>
          </a:r>
          <a:endParaRPr lang="en-US" dirty="0"/>
        </a:p>
      </dgm:t>
    </dgm:pt>
    <dgm:pt modelId="{44FA393C-1B23-4508-AA58-4F9EAB0B9333}" type="parTrans" cxnId="{50CD16D7-F2CF-48EC-A09C-7C5F0D66D8D4}">
      <dgm:prSet/>
      <dgm:spPr/>
      <dgm:t>
        <a:bodyPr/>
        <a:lstStyle/>
        <a:p>
          <a:endParaRPr lang="en-US"/>
        </a:p>
      </dgm:t>
    </dgm:pt>
    <dgm:pt modelId="{22C6DD66-2A0B-4853-9B59-6ED33E97A688}" type="sibTrans" cxnId="{50CD16D7-F2CF-48EC-A09C-7C5F0D66D8D4}">
      <dgm:prSet/>
      <dgm:spPr/>
      <dgm:t>
        <a:bodyPr/>
        <a:lstStyle/>
        <a:p>
          <a:endParaRPr lang="en-US"/>
        </a:p>
      </dgm:t>
    </dgm:pt>
    <dgm:pt modelId="{16E16904-808A-4E83-80C6-4B39B7020322}">
      <dgm:prSet/>
      <dgm:spPr/>
      <dgm:t>
        <a:bodyPr/>
        <a:lstStyle/>
        <a:p>
          <a:r>
            <a:rPr lang="en-US" baseline="0"/>
            <a:t>Synchronization is complete – change the  connection string of your application.</a:t>
          </a:r>
          <a:endParaRPr lang="en-US"/>
        </a:p>
      </dgm:t>
    </dgm:pt>
    <dgm:pt modelId="{4E551F02-0723-4ECC-88A7-C4332DFC8E29}" type="parTrans" cxnId="{4F841B14-0428-42AD-A1F3-4130AB33A00D}">
      <dgm:prSet/>
      <dgm:spPr/>
      <dgm:t>
        <a:bodyPr/>
        <a:lstStyle/>
        <a:p>
          <a:endParaRPr lang="en-US"/>
        </a:p>
      </dgm:t>
    </dgm:pt>
    <dgm:pt modelId="{D86EECFE-513E-42BA-85AB-8DB589DC44B5}" type="sibTrans" cxnId="{4F841B14-0428-42AD-A1F3-4130AB33A00D}">
      <dgm:prSet/>
      <dgm:spPr/>
      <dgm:t>
        <a:bodyPr/>
        <a:lstStyle/>
        <a:p>
          <a:endParaRPr lang="en-US"/>
        </a:p>
      </dgm:t>
    </dgm:pt>
    <dgm:pt modelId="{37A23E7A-7BFE-4C9D-9146-42DE18D751C5}">
      <dgm:prSet/>
      <dgm:spPr/>
      <dgm:t>
        <a:bodyPr/>
        <a:lstStyle/>
        <a:p>
          <a:r>
            <a:rPr lang="en-US" baseline="0"/>
            <a:t>Remove Replication.</a:t>
          </a:r>
          <a:endParaRPr lang="en-US"/>
        </a:p>
      </dgm:t>
    </dgm:pt>
    <dgm:pt modelId="{F3DA698B-958E-48E9-B7C3-493F6D41BC67}" type="parTrans" cxnId="{DACB3055-1A24-454F-BAAC-9BF4524FF0C3}">
      <dgm:prSet/>
      <dgm:spPr/>
      <dgm:t>
        <a:bodyPr/>
        <a:lstStyle/>
        <a:p>
          <a:endParaRPr lang="en-US"/>
        </a:p>
      </dgm:t>
    </dgm:pt>
    <dgm:pt modelId="{0BA30831-FD11-4863-BD7D-A6DA3BFA9ADF}" type="sibTrans" cxnId="{DACB3055-1A24-454F-BAAC-9BF4524FF0C3}">
      <dgm:prSet/>
      <dgm:spPr/>
      <dgm:t>
        <a:bodyPr/>
        <a:lstStyle/>
        <a:p>
          <a:endParaRPr lang="en-US"/>
        </a:p>
      </dgm:t>
    </dgm:pt>
    <dgm:pt modelId="{E6D35180-8D5E-4A75-826D-E3FB5AC80033}" type="pres">
      <dgm:prSet presAssocID="{10054E3E-3987-4C46-B2DB-457D85E58290}" presName="linear" presStyleCnt="0">
        <dgm:presLayoutVars>
          <dgm:animLvl val="lvl"/>
          <dgm:resizeHandles val="exact"/>
        </dgm:presLayoutVars>
      </dgm:prSet>
      <dgm:spPr/>
    </dgm:pt>
    <dgm:pt modelId="{CCDE7131-F13D-488C-A8B5-205593C06D70}" type="pres">
      <dgm:prSet presAssocID="{1D062299-D4B5-429F-9B2A-98025D4BC22A}" presName="parentText" presStyleLbl="node1" presStyleIdx="0" presStyleCnt="5">
        <dgm:presLayoutVars>
          <dgm:chMax val="0"/>
          <dgm:bulletEnabled val="1"/>
        </dgm:presLayoutVars>
      </dgm:prSet>
      <dgm:spPr/>
    </dgm:pt>
    <dgm:pt modelId="{E501D436-2870-46AE-BD93-64D148821153}" type="pres">
      <dgm:prSet presAssocID="{BA2093A4-A9E4-420C-9753-79F633BEFCE0}" presName="spacer" presStyleCnt="0"/>
      <dgm:spPr/>
    </dgm:pt>
    <dgm:pt modelId="{E878039B-14AF-4619-9585-7B247E17D310}" type="pres">
      <dgm:prSet presAssocID="{EAF431AE-4A52-4EC2-B614-6A4CEB0C1D50}" presName="parentText" presStyleLbl="node1" presStyleIdx="1" presStyleCnt="5">
        <dgm:presLayoutVars>
          <dgm:chMax val="0"/>
          <dgm:bulletEnabled val="1"/>
        </dgm:presLayoutVars>
      </dgm:prSet>
      <dgm:spPr/>
    </dgm:pt>
    <dgm:pt modelId="{8BACF9CA-0ADE-4F8C-90BA-41FCCC591236}" type="pres">
      <dgm:prSet presAssocID="{021689EC-A87A-49BA-8D6F-3289C1D22DDF}" presName="spacer" presStyleCnt="0"/>
      <dgm:spPr/>
    </dgm:pt>
    <dgm:pt modelId="{F019A285-E246-4A68-86E2-60A5AEBB41FC}" type="pres">
      <dgm:prSet presAssocID="{A83912AA-F676-4FF2-A374-5140CCF2EDA1}" presName="parentText" presStyleLbl="node1" presStyleIdx="2" presStyleCnt="5">
        <dgm:presLayoutVars>
          <dgm:chMax val="0"/>
          <dgm:bulletEnabled val="1"/>
        </dgm:presLayoutVars>
      </dgm:prSet>
      <dgm:spPr/>
    </dgm:pt>
    <dgm:pt modelId="{B9F5E1EA-4E32-4B15-A6D4-C17310C54D10}" type="pres">
      <dgm:prSet presAssocID="{22C6DD66-2A0B-4853-9B59-6ED33E97A688}" presName="spacer" presStyleCnt="0"/>
      <dgm:spPr/>
    </dgm:pt>
    <dgm:pt modelId="{708DA041-84E3-4367-943E-D3CB957C080E}" type="pres">
      <dgm:prSet presAssocID="{16E16904-808A-4E83-80C6-4B39B7020322}" presName="parentText" presStyleLbl="node1" presStyleIdx="3" presStyleCnt="5">
        <dgm:presLayoutVars>
          <dgm:chMax val="0"/>
          <dgm:bulletEnabled val="1"/>
        </dgm:presLayoutVars>
      </dgm:prSet>
      <dgm:spPr/>
    </dgm:pt>
    <dgm:pt modelId="{BA1F4B57-BBF0-4971-A987-E095AD28F244}" type="pres">
      <dgm:prSet presAssocID="{D86EECFE-513E-42BA-85AB-8DB589DC44B5}" presName="spacer" presStyleCnt="0"/>
      <dgm:spPr/>
    </dgm:pt>
    <dgm:pt modelId="{1DD8228F-B3DA-4E33-8314-73AAC251CFF1}" type="pres">
      <dgm:prSet presAssocID="{37A23E7A-7BFE-4C9D-9146-42DE18D751C5}" presName="parentText" presStyleLbl="node1" presStyleIdx="4" presStyleCnt="5">
        <dgm:presLayoutVars>
          <dgm:chMax val="0"/>
          <dgm:bulletEnabled val="1"/>
        </dgm:presLayoutVars>
      </dgm:prSet>
      <dgm:spPr/>
    </dgm:pt>
  </dgm:ptLst>
  <dgm:cxnLst>
    <dgm:cxn modelId="{4F841B14-0428-42AD-A1F3-4130AB33A00D}" srcId="{10054E3E-3987-4C46-B2DB-457D85E58290}" destId="{16E16904-808A-4E83-80C6-4B39B7020322}" srcOrd="3" destOrd="0" parTransId="{4E551F02-0723-4ECC-88A7-C4332DFC8E29}" sibTransId="{D86EECFE-513E-42BA-85AB-8DB589DC44B5}"/>
    <dgm:cxn modelId="{8AF2243F-071F-47C2-BE64-568756772901}" type="presOf" srcId="{EAF431AE-4A52-4EC2-B614-6A4CEB0C1D50}" destId="{E878039B-14AF-4619-9585-7B247E17D310}" srcOrd="0" destOrd="0" presId="urn:microsoft.com/office/officeart/2005/8/layout/vList2"/>
    <dgm:cxn modelId="{B6B38C71-607A-4359-86EC-EDB8351E346C}" type="presOf" srcId="{16E16904-808A-4E83-80C6-4B39B7020322}" destId="{708DA041-84E3-4367-943E-D3CB957C080E}" srcOrd="0" destOrd="0" presId="urn:microsoft.com/office/officeart/2005/8/layout/vList2"/>
    <dgm:cxn modelId="{DACB3055-1A24-454F-BAAC-9BF4524FF0C3}" srcId="{10054E3E-3987-4C46-B2DB-457D85E58290}" destId="{37A23E7A-7BFE-4C9D-9146-42DE18D751C5}" srcOrd="4" destOrd="0" parTransId="{F3DA698B-958E-48E9-B7C3-493F6D41BC67}" sibTransId="{0BA30831-FD11-4863-BD7D-A6DA3BFA9ADF}"/>
    <dgm:cxn modelId="{847B5477-225A-4B46-B365-CC5DC41FAA7C}" type="presOf" srcId="{A83912AA-F676-4FF2-A374-5140CCF2EDA1}" destId="{F019A285-E246-4A68-86E2-60A5AEBB41FC}" srcOrd="0" destOrd="0" presId="urn:microsoft.com/office/officeart/2005/8/layout/vList2"/>
    <dgm:cxn modelId="{A513F05A-3FC4-4E81-A05D-9BC477893C99}" srcId="{10054E3E-3987-4C46-B2DB-457D85E58290}" destId="{EAF431AE-4A52-4EC2-B614-6A4CEB0C1D50}" srcOrd="1" destOrd="0" parTransId="{A26D9AC5-65D2-4A96-86DF-0C29510DA98B}" sibTransId="{021689EC-A87A-49BA-8D6F-3289C1D22DDF}"/>
    <dgm:cxn modelId="{ED9A2ACA-EAB8-46AF-816F-A497DFF47F37}" type="presOf" srcId="{10054E3E-3987-4C46-B2DB-457D85E58290}" destId="{E6D35180-8D5E-4A75-826D-E3FB5AC80033}" srcOrd="0" destOrd="0" presId="urn:microsoft.com/office/officeart/2005/8/layout/vList2"/>
    <dgm:cxn modelId="{7F340ECC-4C30-4FA8-B769-54967AC5FCB9}" type="presOf" srcId="{37A23E7A-7BFE-4C9D-9146-42DE18D751C5}" destId="{1DD8228F-B3DA-4E33-8314-73AAC251CFF1}" srcOrd="0" destOrd="0" presId="urn:microsoft.com/office/officeart/2005/8/layout/vList2"/>
    <dgm:cxn modelId="{26826FD0-F9B4-4C66-BF85-A368F7A15EC8}" srcId="{10054E3E-3987-4C46-B2DB-457D85E58290}" destId="{1D062299-D4B5-429F-9B2A-98025D4BC22A}" srcOrd="0" destOrd="0" parTransId="{7BF283BD-8220-4B3F-8762-FE4DE04FDD0E}" sibTransId="{BA2093A4-A9E4-420C-9753-79F633BEFCE0}"/>
    <dgm:cxn modelId="{50CD16D7-F2CF-48EC-A09C-7C5F0D66D8D4}" srcId="{10054E3E-3987-4C46-B2DB-457D85E58290}" destId="{A83912AA-F676-4FF2-A374-5140CCF2EDA1}" srcOrd="2" destOrd="0" parTransId="{44FA393C-1B23-4508-AA58-4F9EAB0B9333}" sibTransId="{22C6DD66-2A0B-4853-9B59-6ED33E97A688}"/>
    <dgm:cxn modelId="{8C5680E6-9D89-4E98-83C7-5299BDBAB742}" type="presOf" srcId="{1D062299-D4B5-429F-9B2A-98025D4BC22A}" destId="{CCDE7131-F13D-488C-A8B5-205593C06D70}" srcOrd="0" destOrd="0" presId="urn:microsoft.com/office/officeart/2005/8/layout/vList2"/>
    <dgm:cxn modelId="{409F17AE-D615-4E54-AF8E-8B9573EEE5FD}" type="presParOf" srcId="{E6D35180-8D5E-4A75-826D-E3FB5AC80033}" destId="{CCDE7131-F13D-488C-A8B5-205593C06D70}" srcOrd="0" destOrd="0" presId="urn:microsoft.com/office/officeart/2005/8/layout/vList2"/>
    <dgm:cxn modelId="{C039B81D-5690-4F5D-A3CF-D6D4DDED0F91}" type="presParOf" srcId="{E6D35180-8D5E-4A75-826D-E3FB5AC80033}" destId="{E501D436-2870-46AE-BD93-64D148821153}" srcOrd="1" destOrd="0" presId="urn:microsoft.com/office/officeart/2005/8/layout/vList2"/>
    <dgm:cxn modelId="{A6D3657C-BAAF-488E-9709-6DD0B5EF0E67}" type="presParOf" srcId="{E6D35180-8D5E-4A75-826D-E3FB5AC80033}" destId="{E878039B-14AF-4619-9585-7B247E17D310}" srcOrd="2" destOrd="0" presId="urn:microsoft.com/office/officeart/2005/8/layout/vList2"/>
    <dgm:cxn modelId="{C1BA9566-E709-45BD-91C2-C603E9FF6243}" type="presParOf" srcId="{E6D35180-8D5E-4A75-826D-E3FB5AC80033}" destId="{8BACF9CA-0ADE-4F8C-90BA-41FCCC591236}" srcOrd="3" destOrd="0" presId="urn:microsoft.com/office/officeart/2005/8/layout/vList2"/>
    <dgm:cxn modelId="{42C0253C-9FEB-4780-985E-A38B6DEB05A6}" type="presParOf" srcId="{E6D35180-8D5E-4A75-826D-E3FB5AC80033}" destId="{F019A285-E246-4A68-86E2-60A5AEBB41FC}" srcOrd="4" destOrd="0" presId="urn:microsoft.com/office/officeart/2005/8/layout/vList2"/>
    <dgm:cxn modelId="{94907600-51FB-4D59-8600-F756DA26F997}" type="presParOf" srcId="{E6D35180-8D5E-4A75-826D-E3FB5AC80033}" destId="{B9F5E1EA-4E32-4B15-A6D4-C17310C54D10}" srcOrd="5" destOrd="0" presId="urn:microsoft.com/office/officeart/2005/8/layout/vList2"/>
    <dgm:cxn modelId="{5C5DB17F-FBC9-4E07-8491-7835C55D5F27}" type="presParOf" srcId="{E6D35180-8D5E-4A75-826D-E3FB5AC80033}" destId="{708DA041-84E3-4367-943E-D3CB957C080E}" srcOrd="6" destOrd="0" presId="urn:microsoft.com/office/officeart/2005/8/layout/vList2"/>
    <dgm:cxn modelId="{56B3C460-2F3C-413E-89EE-F46C9181402A}" type="presParOf" srcId="{E6D35180-8D5E-4A75-826D-E3FB5AC80033}" destId="{BA1F4B57-BBF0-4971-A987-E095AD28F244}" srcOrd="7" destOrd="0" presId="urn:microsoft.com/office/officeart/2005/8/layout/vList2"/>
    <dgm:cxn modelId="{39243987-2E05-41A7-92D6-A7ADD21B0EF0}" type="presParOf" srcId="{E6D35180-8D5E-4A75-826D-E3FB5AC80033}" destId="{1DD8228F-B3DA-4E33-8314-73AAC251CFF1}"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1DDA347-E590-4381-9838-95E171CF9954}"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74599D-AF39-4B39-8159-38AD72671772}">
      <dgm:prSet phldrT="[Text]"/>
      <dgm:spPr>
        <a:xfrm>
          <a:off x="767192" y="552732"/>
          <a:ext cx="7447513" cy="1105464"/>
        </a:xfrm>
        <a:prstGeom prst="rect">
          <a:avLst/>
        </a:prstGeom>
      </dgm:spPr>
      <dgm:t>
        <a:bodyPr/>
        <a:lstStyle/>
        <a:p>
          <a:pPr>
            <a:buNone/>
          </a:pPr>
          <a:r>
            <a:rPr lang="en-US" dirty="0">
              <a:latin typeface="Segoe UI"/>
              <a:ea typeface="+mn-ea"/>
              <a:cs typeface="+mn-cs"/>
            </a:rPr>
            <a:t>Fully managed, reliable and seamless, migration service for both operational databases and data warehouses.</a:t>
          </a:r>
        </a:p>
      </dgm:t>
    </dgm:pt>
    <dgm:pt modelId="{3A569D46-E73E-45D8-AB69-BB841A731B91}" type="parTrans" cxnId="{5FE7DE1C-2D92-43F7-AD3F-39B5A3AFE27D}">
      <dgm:prSet/>
      <dgm:spPr/>
      <dgm:t>
        <a:bodyPr/>
        <a:lstStyle/>
        <a:p>
          <a:endParaRPr lang="en-US"/>
        </a:p>
      </dgm:t>
    </dgm:pt>
    <dgm:pt modelId="{4E9051DF-3F65-443E-B7BF-5E3EA0D20357}" type="sibTrans" cxnId="{5FE7DE1C-2D92-43F7-AD3F-39B5A3AFE27D}">
      <dgm:prSet/>
      <dgm:spPr>
        <a:xfrm>
          <a:off x="-6247890" y="-956099"/>
          <a:ext cx="7439520" cy="7439520"/>
        </a:xfrm>
        <a:prstGeom prst="blockArc">
          <a:avLst>
            <a:gd name="adj1" fmla="val 18900000"/>
            <a:gd name="adj2" fmla="val 2700000"/>
            <a:gd name="adj3" fmla="val 290"/>
          </a:avLst>
        </a:prstGeom>
      </dgm:spPr>
      <dgm:t>
        <a:bodyPr/>
        <a:lstStyle/>
        <a:p>
          <a:endParaRPr lang="en-US"/>
        </a:p>
      </dgm:t>
    </dgm:pt>
    <dgm:pt modelId="{E5EBFDD9-841F-407E-B068-7EBB5FA0D2B7}">
      <dgm:prSet/>
      <dgm:spPr>
        <a:xfrm>
          <a:off x="1169028" y="2210928"/>
          <a:ext cx="7045677" cy="1105464"/>
        </a:xfrm>
        <a:prstGeom prst="rect">
          <a:avLst/>
        </a:prstGeom>
      </dgm:spPr>
      <dgm:t>
        <a:bodyPr/>
        <a:lstStyle/>
        <a:p>
          <a:pPr>
            <a:buNone/>
          </a:pPr>
          <a:r>
            <a:rPr lang="en-US">
              <a:latin typeface="Segoe UI"/>
              <a:ea typeface="+mn-ea"/>
              <a:cs typeface="+mn-cs"/>
            </a:rPr>
            <a:t>Minimal down time migrations.</a:t>
          </a:r>
          <a:endParaRPr lang="en-US" dirty="0">
            <a:latin typeface="Segoe UI"/>
            <a:ea typeface="+mn-ea"/>
            <a:cs typeface="+mn-cs"/>
          </a:endParaRPr>
        </a:p>
      </dgm:t>
    </dgm:pt>
    <dgm:pt modelId="{1DCD1679-195A-4A96-9BBF-22DA8D57AAC9}" type="parTrans" cxnId="{0BF13DCC-7251-4821-A2CE-243F75D488A9}">
      <dgm:prSet/>
      <dgm:spPr/>
      <dgm:t>
        <a:bodyPr/>
        <a:lstStyle/>
        <a:p>
          <a:endParaRPr lang="en-US"/>
        </a:p>
      </dgm:t>
    </dgm:pt>
    <dgm:pt modelId="{9289B3B9-24CF-45A4-BCE6-8106782C62F6}" type="sibTrans" cxnId="{0BF13DCC-7251-4821-A2CE-243F75D488A9}">
      <dgm:prSet/>
      <dgm:spPr/>
      <dgm:t>
        <a:bodyPr/>
        <a:lstStyle/>
        <a:p>
          <a:endParaRPr lang="en-US"/>
        </a:p>
      </dgm:t>
    </dgm:pt>
    <dgm:pt modelId="{58F497E3-F7D2-4DA1-A0B0-04D90B03FD74}">
      <dgm:prSet/>
      <dgm:spPr>
        <a:xfrm>
          <a:off x="767192" y="3869125"/>
          <a:ext cx="7447513" cy="1105464"/>
        </a:xfrm>
        <a:prstGeom prst="rect">
          <a:avLst/>
        </a:prstGeom>
      </dgm:spPr>
      <dgm:t>
        <a:bodyPr/>
        <a:lstStyle/>
        <a:p>
          <a:pPr>
            <a:buNone/>
          </a:pPr>
          <a:r>
            <a:rPr lang="en-US">
              <a:latin typeface="Segoe UI"/>
              <a:ea typeface="+mn-ea"/>
              <a:cs typeface="+mn-cs"/>
            </a:rPr>
            <a:t>Homogeneous and heterogeneous source-target pairs.</a:t>
          </a:r>
          <a:endParaRPr lang="en-US" dirty="0">
            <a:latin typeface="Segoe UI"/>
            <a:ea typeface="+mn-ea"/>
            <a:cs typeface="+mn-cs"/>
          </a:endParaRPr>
        </a:p>
      </dgm:t>
    </dgm:pt>
    <dgm:pt modelId="{A85C3C5F-51F5-4F3E-BABC-4CFED17F24F5}" type="parTrans" cxnId="{B35FB7CB-5941-4C87-B444-F653E4CB9891}">
      <dgm:prSet/>
      <dgm:spPr/>
      <dgm:t>
        <a:bodyPr/>
        <a:lstStyle/>
        <a:p>
          <a:endParaRPr lang="en-US"/>
        </a:p>
      </dgm:t>
    </dgm:pt>
    <dgm:pt modelId="{997780D3-4552-4022-9FA3-B6BF47A6D3CD}" type="sibTrans" cxnId="{B35FB7CB-5941-4C87-B444-F653E4CB9891}">
      <dgm:prSet/>
      <dgm:spPr/>
      <dgm:t>
        <a:bodyPr/>
        <a:lstStyle/>
        <a:p>
          <a:endParaRPr lang="en-US"/>
        </a:p>
      </dgm:t>
    </dgm:pt>
    <dgm:pt modelId="{B978DC65-8B6C-4124-A7EE-CB2E6351E6D5}" type="pres">
      <dgm:prSet presAssocID="{91DDA347-E590-4381-9838-95E171CF9954}" presName="Name0" presStyleCnt="0">
        <dgm:presLayoutVars>
          <dgm:chMax val="7"/>
          <dgm:chPref val="7"/>
          <dgm:dir/>
        </dgm:presLayoutVars>
      </dgm:prSet>
      <dgm:spPr/>
    </dgm:pt>
    <dgm:pt modelId="{4E16CA13-2738-4800-83D0-C6905ABB815B}" type="pres">
      <dgm:prSet presAssocID="{91DDA347-E590-4381-9838-95E171CF9954}" presName="Name1" presStyleCnt="0"/>
      <dgm:spPr/>
    </dgm:pt>
    <dgm:pt modelId="{DFB81D8F-7F8F-4959-BCF8-E93104E0C8D7}" type="pres">
      <dgm:prSet presAssocID="{91DDA347-E590-4381-9838-95E171CF9954}" presName="cycle" presStyleCnt="0"/>
      <dgm:spPr/>
    </dgm:pt>
    <dgm:pt modelId="{09E4356E-CA3F-4C21-937A-3524D3B0718F}" type="pres">
      <dgm:prSet presAssocID="{91DDA347-E590-4381-9838-95E171CF9954}" presName="srcNode" presStyleLbl="node1" presStyleIdx="0" presStyleCnt="3"/>
      <dgm:spPr/>
    </dgm:pt>
    <dgm:pt modelId="{BC7DF1A0-2B41-443A-AE97-E9180797AE24}" type="pres">
      <dgm:prSet presAssocID="{91DDA347-E590-4381-9838-95E171CF9954}" presName="conn" presStyleLbl="parChTrans1D2" presStyleIdx="0" presStyleCnt="1"/>
      <dgm:spPr/>
    </dgm:pt>
    <dgm:pt modelId="{E2C4ED1F-6F75-4E53-9103-B7653CAC36CB}" type="pres">
      <dgm:prSet presAssocID="{91DDA347-E590-4381-9838-95E171CF9954}" presName="extraNode" presStyleLbl="node1" presStyleIdx="0" presStyleCnt="3"/>
      <dgm:spPr/>
    </dgm:pt>
    <dgm:pt modelId="{7B8A7A8D-7963-4473-9FE3-F45F1A14B6D1}" type="pres">
      <dgm:prSet presAssocID="{91DDA347-E590-4381-9838-95E171CF9954}" presName="dstNode" presStyleLbl="node1" presStyleIdx="0" presStyleCnt="3"/>
      <dgm:spPr/>
    </dgm:pt>
    <dgm:pt modelId="{6E14BE17-FCA9-497E-B634-8A72F61231DF}" type="pres">
      <dgm:prSet presAssocID="{8374599D-AF39-4B39-8159-38AD72671772}" presName="text_1" presStyleLbl="node1" presStyleIdx="0" presStyleCnt="3">
        <dgm:presLayoutVars>
          <dgm:bulletEnabled val="1"/>
        </dgm:presLayoutVars>
      </dgm:prSet>
      <dgm:spPr/>
    </dgm:pt>
    <dgm:pt modelId="{8C42CEF1-DCE4-44DA-8EDA-D56EF72C198D}" type="pres">
      <dgm:prSet presAssocID="{8374599D-AF39-4B39-8159-38AD72671772}" presName="accent_1" presStyleCnt="0"/>
      <dgm:spPr/>
    </dgm:pt>
    <dgm:pt modelId="{B7C36EA6-D9E3-45F9-8637-47089DAFD325}" type="pres">
      <dgm:prSet presAssocID="{8374599D-AF39-4B39-8159-38AD72671772}" presName="accentRepeatNode" presStyleLbl="solidFgAcc1" presStyleIdx="0" presStyleCnt="3"/>
      <dgm:spPr>
        <a:xfrm>
          <a:off x="76277" y="414549"/>
          <a:ext cx="1381830" cy="1381830"/>
        </a:xfrm>
        <a:prstGeom prst="ellipse">
          <a:avLst/>
        </a:prstGeom>
      </dgm:spPr>
    </dgm:pt>
    <dgm:pt modelId="{6A332BA2-0453-41BB-92A7-0966B4FC8B03}" type="pres">
      <dgm:prSet presAssocID="{E5EBFDD9-841F-407E-B068-7EBB5FA0D2B7}" presName="text_2" presStyleLbl="node1" presStyleIdx="1" presStyleCnt="3">
        <dgm:presLayoutVars>
          <dgm:bulletEnabled val="1"/>
        </dgm:presLayoutVars>
      </dgm:prSet>
      <dgm:spPr/>
    </dgm:pt>
    <dgm:pt modelId="{E4C5DC96-3216-435B-8176-D7502DAB2342}" type="pres">
      <dgm:prSet presAssocID="{E5EBFDD9-841F-407E-B068-7EBB5FA0D2B7}" presName="accent_2" presStyleCnt="0"/>
      <dgm:spPr/>
    </dgm:pt>
    <dgm:pt modelId="{E7CEE042-9318-4C10-B3C5-1D212D9E7A70}" type="pres">
      <dgm:prSet presAssocID="{E5EBFDD9-841F-407E-B068-7EBB5FA0D2B7}" presName="accentRepeatNode" presStyleLbl="solidFgAcc1" presStyleIdx="1" presStyleCnt="3"/>
      <dgm:spPr>
        <a:xfrm>
          <a:off x="478113" y="2072745"/>
          <a:ext cx="1381830" cy="1381830"/>
        </a:xfrm>
        <a:prstGeom prst="ellipse">
          <a:avLst/>
        </a:prstGeom>
      </dgm:spPr>
    </dgm:pt>
    <dgm:pt modelId="{F61C2FE0-A9C3-4A78-81B4-7392360A48BD}" type="pres">
      <dgm:prSet presAssocID="{58F497E3-F7D2-4DA1-A0B0-04D90B03FD74}" presName="text_3" presStyleLbl="node1" presStyleIdx="2" presStyleCnt="3">
        <dgm:presLayoutVars>
          <dgm:bulletEnabled val="1"/>
        </dgm:presLayoutVars>
      </dgm:prSet>
      <dgm:spPr/>
    </dgm:pt>
    <dgm:pt modelId="{CDC54D21-137C-4B1F-A555-B15BDA4A71B4}" type="pres">
      <dgm:prSet presAssocID="{58F497E3-F7D2-4DA1-A0B0-04D90B03FD74}" presName="accent_3" presStyleCnt="0"/>
      <dgm:spPr/>
    </dgm:pt>
    <dgm:pt modelId="{A9E5FCF8-350D-4C13-9968-CE044B94D044}" type="pres">
      <dgm:prSet presAssocID="{58F497E3-F7D2-4DA1-A0B0-04D90B03FD74}" presName="accentRepeatNode" presStyleLbl="solidFgAcc1" presStyleIdx="2" presStyleCnt="3"/>
      <dgm:spPr>
        <a:xfrm>
          <a:off x="76277" y="3730942"/>
          <a:ext cx="1381830" cy="1381830"/>
        </a:xfrm>
        <a:prstGeom prst="ellipse">
          <a:avLst/>
        </a:prstGeom>
      </dgm:spPr>
    </dgm:pt>
  </dgm:ptLst>
  <dgm:cxnLst>
    <dgm:cxn modelId="{5FE7DE1C-2D92-43F7-AD3F-39B5A3AFE27D}" srcId="{91DDA347-E590-4381-9838-95E171CF9954}" destId="{8374599D-AF39-4B39-8159-38AD72671772}" srcOrd="0" destOrd="0" parTransId="{3A569D46-E73E-45D8-AB69-BB841A731B91}" sibTransId="{4E9051DF-3F65-443E-B7BF-5E3EA0D20357}"/>
    <dgm:cxn modelId="{D4AE1321-3E22-4861-8149-5A66FB8683E6}" type="presOf" srcId="{91DDA347-E590-4381-9838-95E171CF9954}" destId="{B978DC65-8B6C-4124-A7EE-CB2E6351E6D5}" srcOrd="0" destOrd="0" presId="urn:microsoft.com/office/officeart/2008/layout/VerticalCurvedList"/>
    <dgm:cxn modelId="{B35FB7CB-5941-4C87-B444-F653E4CB9891}" srcId="{91DDA347-E590-4381-9838-95E171CF9954}" destId="{58F497E3-F7D2-4DA1-A0B0-04D90B03FD74}" srcOrd="2" destOrd="0" parTransId="{A85C3C5F-51F5-4F3E-BABC-4CFED17F24F5}" sibTransId="{997780D3-4552-4022-9FA3-B6BF47A6D3CD}"/>
    <dgm:cxn modelId="{0BF13DCC-7251-4821-A2CE-243F75D488A9}" srcId="{91DDA347-E590-4381-9838-95E171CF9954}" destId="{E5EBFDD9-841F-407E-B068-7EBB5FA0D2B7}" srcOrd="1" destOrd="0" parTransId="{1DCD1679-195A-4A96-9BBF-22DA8D57AAC9}" sibTransId="{9289B3B9-24CF-45A4-BCE6-8106782C62F6}"/>
    <dgm:cxn modelId="{6E4D7CD8-3AD8-4427-B061-A1721AE5CBF9}" type="presOf" srcId="{E5EBFDD9-841F-407E-B068-7EBB5FA0D2B7}" destId="{6A332BA2-0453-41BB-92A7-0966B4FC8B03}" srcOrd="0" destOrd="0" presId="urn:microsoft.com/office/officeart/2008/layout/VerticalCurvedList"/>
    <dgm:cxn modelId="{295517E4-2E96-4309-82B0-B0D4A79DC0FC}" type="presOf" srcId="{4E9051DF-3F65-443E-B7BF-5E3EA0D20357}" destId="{BC7DF1A0-2B41-443A-AE97-E9180797AE24}" srcOrd="0" destOrd="0" presId="urn:microsoft.com/office/officeart/2008/layout/VerticalCurvedList"/>
    <dgm:cxn modelId="{BA94B1F1-6D98-4CA4-A16B-ADDDE83E3303}" type="presOf" srcId="{58F497E3-F7D2-4DA1-A0B0-04D90B03FD74}" destId="{F61C2FE0-A9C3-4A78-81B4-7392360A48BD}" srcOrd="0" destOrd="0" presId="urn:microsoft.com/office/officeart/2008/layout/VerticalCurvedList"/>
    <dgm:cxn modelId="{0E2446F4-8256-4EAC-83C3-48E572176B2F}" type="presOf" srcId="{8374599D-AF39-4B39-8159-38AD72671772}" destId="{6E14BE17-FCA9-497E-B634-8A72F61231DF}" srcOrd="0" destOrd="0" presId="urn:microsoft.com/office/officeart/2008/layout/VerticalCurvedList"/>
    <dgm:cxn modelId="{01862BB3-3584-4851-8F73-B57141B27088}" type="presParOf" srcId="{B978DC65-8B6C-4124-A7EE-CB2E6351E6D5}" destId="{4E16CA13-2738-4800-83D0-C6905ABB815B}" srcOrd="0" destOrd="0" presId="urn:microsoft.com/office/officeart/2008/layout/VerticalCurvedList"/>
    <dgm:cxn modelId="{3D29E6A7-3E9B-4E8F-95AF-494BA79B8231}" type="presParOf" srcId="{4E16CA13-2738-4800-83D0-C6905ABB815B}" destId="{DFB81D8F-7F8F-4959-BCF8-E93104E0C8D7}" srcOrd="0" destOrd="0" presId="urn:microsoft.com/office/officeart/2008/layout/VerticalCurvedList"/>
    <dgm:cxn modelId="{FFDD5401-575B-4CA1-B592-C4F70E79335E}" type="presParOf" srcId="{DFB81D8F-7F8F-4959-BCF8-E93104E0C8D7}" destId="{09E4356E-CA3F-4C21-937A-3524D3B0718F}" srcOrd="0" destOrd="0" presId="urn:microsoft.com/office/officeart/2008/layout/VerticalCurvedList"/>
    <dgm:cxn modelId="{DED581D9-12CE-44AB-8A1C-64E214202791}" type="presParOf" srcId="{DFB81D8F-7F8F-4959-BCF8-E93104E0C8D7}" destId="{BC7DF1A0-2B41-443A-AE97-E9180797AE24}" srcOrd="1" destOrd="0" presId="urn:microsoft.com/office/officeart/2008/layout/VerticalCurvedList"/>
    <dgm:cxn modelId="{1F4A7D7F-1D42-46E0-860C-E2212C6BE834}" type="presParOf" srcId="{DFB81D8F-7F8F-4959-BCF8-E93104E0C8D7}" destId="{E2C4ED1F-6F75-4E53-9103-B7653CAC36CB}" srcOrd="2" destOrd="0" presId="urn:microsoft.com/office/officeart/2008/layout/VerticalCurvedList"/>
    <dgm:cxn modelId="{CA079785-33BB-46A1-A80A-393C1D8504D6}" type="presParOf" srcId="{DFB81D8F-7F8F-4959-BCF8-E93104E0C8D7}" destId="{7B8A7A8D-7963-4473-9FE3-F45F1A14B6D1}" srcOrd="3" destOrd="0" presId="urn:microsoft.com/office/officeart/2008/layout/VerticalCurvedList"/>
    <dgm:cxn modelId="{08FC0B87-1B93-4858-A009-258A107FFADD}" type="presParOf" srcId="{4E16CA13-2738-4800-83D0-C6905ABB815B}" destId="{6E14BE17-FCA9-497E-B634-8A72F61231DF}" srcOrd="1" destOrd="0" presId="urn:microsoft.com/office/officeart/2008/layout/VerticalCurvedList"/>
    <dgm:cxn modelId="{9DB6B34A-DB07-44BD-AB2A-4D865FC9167F}" type="presParOf" srcId="{4E16CA13-2738-4800-83D0-C6905ABB815B}" destId="{8C42CEF1-DCE4-44DA-8EDA-D56EF72C198D}" srcOrd="2" destOrd="0" presId="urn:microsoft.com/office/officeart/2008/layout/VerticalCurvedList"/>
    <dgm:cxn modelId="{91BC1EA2-E03F-402C-98D7-16F5B927391A}" type="presParOf" srcId="{8C42CEF1-DCE4-44DA-8EDA-D56EF72C198D}" destId="{B7C36EA6-D9E3-45F9-8637-47089DAFD325}" srcOrd="0" destOrd="0" presId="urn:microsoft.com/office/officeart/2008/layout/VerticalCurvedList"/>
    <dgm:cxn modelId="{A72C04DB-4E46-4B1A-9188-6C3E709057F6}" type="presParOf" srcId="{4E16CA13-2738-4800-83D0-C6905ABB815B}" destId="{6A332BA2-0453-41BB-92A7-0966B4FC8B03}" srcOrd="3" destOrd="0" presId="urn:microsoft.com/office/officeart/2008/layout/VerticalCurvedList"/>
    <dgm:cxn modelId="{43F9406D-CA07-4B18-B528-F60A1F20DD48}" type="presParOf" srcId="{4E16CA13-2738-4800-83D0-C6905ABB815B}" destId="{E4C5DC96-3216-435B-8176-D7502DAB2342}" srcOrd="4" destOrd="0" presId="urn:microsoft.com/office/officeart/2008/layout/VerticalCurvedList"/>
    <dgm:cxn modelId="{C3BB8FD9-FE13-49D5-AFEF-E2932235770C}" type="presParOf" srcId="{E4C5DC96-3216-435B-8176-D7502DAB2342}" destId="{E7CEE042-9318-4C10-B3C5-1D212D9E7A70}" srcOrd="0" destOrd="0" presId="urn:microsoft.com/office/officeart/2008/layout/VerticalCurvedList"/>
    <dgm:cxn modelId="{09F92E09-4D7E-4A4A-9644-818A1B097141}" type="presParOf" srcId="{4E16CA13-2738-4800-83D0-C6905ABB815B}" destId="{F61C2FE0-A9C3-4A78-81B4-7392360A48BD}" srcOrd="5" destOrd="0" presId="urn:microsoft.com/office/officeart/2008/layout/VerticalCurvedList"/>
    <dgm:cxn modelId="{1DB0F197-38CA-46E6-87C8-B6C44A98464F}" type="presParOf" srcId="{4E16CA13-2738-4800-83D0-C6905ABB815B}" destId="{CDC54D21-137C-4B1F-A555-B15BDA4A71B4}" srcOrd="6" destOrd="0" presId="urn:microsoft.com/office/officeart/2008/layout/VerticalCurvedList"/>
    <dgm:cxn modelId="{2327BF96-66A2-4197-BCE3-39D564F21792}" type="presParOf" srcId="{CDC54D21-137C-4B1F-A555-B15BDA4A71B4}" destId="{A9E5FCF8-350D-4C13-9968-CE044B94D044}" srcOrd="0" destOrd="0" presId="urn:microsoft.com/office/officeart/2008/layout/VerticalCurv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D1FE1D-E287-411F-9901-55DA6132E64E}">
      <dsp:nvSpPr>
        <dsp:cNvPr id="0" name=""/>
        <dsp:cNvSpPr/>
      </dsp:nvSpPr>
      <dsp:spPr>
        <a:xfrm>
          <a:off x="0" y="50691"/>
          <a:ext cx="5440361" cy="8952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Assess the database</a:t>
          </a:r>
          <a:endParaRPr lang="en-US" sz="2100" kern="1200"/>
        </a:p>
      </dsp:txBody>
      <dsp:txXfrm>
        <a:off x="43703" y="94394"/>
        <a:ext cx="5352955" cy="807863"/>
      </dsp:txXfrm>
    </dsp:sp>
    <dsp:sp modelId="{6F2C9590-3F96-4E14-9815-923CACEE8059}">
      <dsp:nvSpPr>
        <dsp:cNvPr id="0" name=""/>
        <dsp:cNvSpPr/>
      </dsp:nvSpPr>
      <dsp:spPr>
        <a:xfrm>
          <a:off x="0" y="1006440"/>
          <a:ext cx="5440361" cy="8952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Prepare any necessary fixes as Transact-SQL scripts.</a:t>
          </a:r>
          <a:endParaRPr lang="en-US" sz="2100" kern="1200"/>
        </a:p>
      </dsp:txBody>
      <dsp:txXfrm>
        <a:off x="43703" y="1050143"/>
        <a:ext cx="5352955" cy="807863"/>
      </dsp:txXfrm>
    </dsp:sp>
    <dsp:sp modelId="{6C1FC342-0EC6-4A9D-A337-1FDDA0DAB595}">
      <dsp:nvSpPr>
        <dsp:cNvPr id="0" name=""/>
        <dsp:cNvSpPr/>
      </dsp:nvSpPr>
      <dsp:spPr>
        <a:xfrm>
          <a:off x="0" y="1962190"/>
          <a:ext cx="5440361" cy="8952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Make a transitionally consistent copy of the source database.</a:t>
          </a:r>
          <a:endParaRPr lang="en-US" sz="2100" kern="1200"/>
        </a:p>
      </dsp:txBody>
      <dsp:txXfrm>
        <a:off x="43703" y="2005893"/>
        <a:ext cx="5352955" cy="807863"/>
      </dsp:txXfrm>
    </dsp:sp>
    <dsp:sp modelId="{E9F86373-308E-4972-8927-7F136DB2E889}">
      <dsp:nvSpPr>
        <dsp:cNvPr id="0" name=""/>
        <dsp:cNvSpPr/>
      </dsp:nvSpPr>
      <dsp:spPr>
        <a:xfrm>
          <a:off x="0" y="2917939"/>
          <a:ext cx="5440361" cy="8952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Deploy the Transact-SQL scripts to apply the fixes to the database copy.</a:t>
          </a:r>
          <a:endParaRPr lang="en-US" sz="2100" kern="1200" dirty="0"/>
        </a:p>
      </dsp:txBody>
      <dsp:txXfrm>
        <a:off x="43703" y="2961642"/>
        <a:ext cx="5352955" cy="807863"/>
      </dsp:txXfrm>
    </dsp:sp>
    <dsp:sp modelId="{DB43D4DD-76F1-4FAB-BF1C-7C972D1D525F}">
      <dsp:nvSpPr>
        <dsp:cNvPr id="0" name=""/>
        <dsp:cNvSpPr/>
      </dsp:nvSpPr>
      <dsp:spPr>
        <a:xfrm>
          <a:off x="0" y="3873689"/>
          <a:ext cx="5440361" cy="89526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Migrate the database copy to a new Azure SQL Database. </a:t>
          </a:r>
          <a:endParaRPr lang="en-US" sz="2100" kern="1200"/>
        </a:p>
      </dsp:txBody>
      <dsp:txXfrm>
        <a:off x="43703" y="3917392"/>
        <a:ext cx="5352955" cy="80786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705F92-91BF-4494-884A-AAD4956A53A1}">
      <dsp:nvSpPr>
        <dsp:cNvPr id="0" name=""/>
        <dsp:cNvSpPr/>
      </dsp:nvSpPr>
      <dsp:spPr>
        <a:xfrm>
          <a:off x="0" y="124926"/>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dirty="0"/>
            <a:t>Register the resource provider.</a:t>
          </a:r>
          <a:endParaRPr lang="en-US" sz="1900" kern="1200" dirty="0"/>
        </a:p>
      </dsp:txBody>
      <dsp:txXfrm>
        <a:off x="34954" y="159880"/>
        <a:ext cx="3934969" cy="646124"/>
      </dsp:txXfrm>
    </dsp:sp>
    <dsp:sp modelId="{B04F5AE9-19ED-4530-840A-2DB594A7CB76}">
      <dsp:nvSpPr>
        <dsp:cNvPr id="0" name=""/>
        <dsp:cNvSpPr/>
      </dsp:nvSpPr>
      <dsp:spPr>
        <a:xfrm>
          <a:off x="0" y="895679"/>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dirty="0"/>
            <a:t>Create an instance of the service.</a:t>
          </a:r>
          <a:endParaRPr lang="en-US" sz="1900" kern="1200" dirty="0"/>
        </a:p>
      </dsp:txBody>
      <dsp:txXfrm>
        <a:off x="34954" y="930633"/>
        <a:ext cx="3934969" cy="646124"/>
      </dsp:txXfrm>
    </dsp:sp>
    <dsp:sp modelId="{5FFCAB49-3603-4B10-B011-BD1BB1F5D1AD}">
      <dsp:nvSpPr>
        <dsp:cNvPr id="0" name=""/>
        <dsp:cNvSpPr/>
      </dsp:nvSpPr>
      <dsp:spPr>
        <a:xfrm>
          <a:off x="0" y="1666432"/>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Assess your on-premises database.</a:t>
          </a:r>
          <a:endParaRPr lang="en-US" sz="1900" kern="1200"/>
        </a:p>
      </dsp:txBody>
      <dsp:txXfrm>
        <a:off x="34954" y="1701386"/>
        <a:ext cx="3934969" cy="646124"/>
      </dsp:txXfrm>
    </dsp:sp>
    <dsp:sp modelId="{61A5D2A2-F5C0-425E-BF4D-5E5771882232}">
      <dsp:nvSpPr>
        <dsp:cNvPr id="0" name=""/>
        <dsp:cNvSpPr/>
      </dsp:nvSpPr>
      <dsp:spPr>
        <a:xfrm>
          <a:off x="0" y="2437185"/>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Migrate the sample schema.</a:t>
          </a:r>
          <a:endParaRPr lang="en-US" sz="1900" kern="1200"/>
        </a:p>
      </dsp:txBody>
      <dsp:txXfrm>
        <a:off x="34954" y="2472139"/>
        <a:ext cx="3934969" cy="646124"/>
      </dsp:txXfrm>
    </dsp:sp>
    <dsp:sp modelId="{FE3EA1E7-E90A-4216-A84D-F96FF169D6B1}">
      <dsp:nvSpPr>
        <dsp:cNvPr id="0" name=""/>
        <dsp:cNvSpPr/>
      </dsp:nvSpPr>
      <dsp:spPr>
        <a:xfrm>
          <a:off x="0" y="3207937"/>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Create a Migration Project.</a:t>
          </a:r>
          <a:endParaRPr lang="en-US" sz="1900" kern="1200"/>
        </a:p>
      </dsp:txBody>
      <dsp:txXfrm>
        <a:off x="34954" y="3242891"/>
        <a:ext cx="3934969" cy="646124"/>
      </dsp:txXfrm>
    </dsp:sp>
    <dsp:sp modelId="{6CB37123-AE97-4D02-AA99-30E74B8F71F6}">
      <dsp:nvSpPr>
        <dsp:cNvPr id="0" name=""/>
        <dsp:cNvSpPr/>
      </dsp:nvSpPr>
      <dsp:spPr>
        <a:xfrm>
          <a:off x="0" y="3978690"/>
          <a:ext cx="4004877" cy="716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Specify Source Details.</a:t>
          </a:r>
          <a:endParaRPr lang="en-US" sz="1900" kern="1200"/>
        </a:p>
      </dsp:txBody>
      <dsp:txXfrm>
        <a:off x="34954" y="4013644"/>
        <a:ext cx="3934969" cy="6461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9C8D03-83FC-4539-91EB-4AE42DB376C5}">
      <dsp:nvSpPr>
        <dsp:cNvPr id="0" name=""/>
        <dsp:cNvSpPr/>
      </dsp:nvSpPr>
      <dsp:spPr>
        <a:xfrm>
          <a:off x="0" y="516855"/>
          <a:ext cx="4221162"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Specify Target Details</a:t>
          </a:r>
          <a:endParaRPr lang="en-US" sz="2700" kern="1200"/>
        </a:p>
      </dsp:txBody>
      <dsp:txXfrm>
        <a:off x="33926" y="550781"/>
        <a:ext cx="4153310" cy="627128"/>
      </dsp:txXfrm>
    </dsp:sp>
    <dsp:sp modelId="{DA6AE445-2F2A-46E1-977C-E19450801CB0}">
      <dsp:nvSpPr>
        <dsp:cNvPr id="0" name=""/>
        <dsp:cNvSpPr/>
      </dsp:nvSpPr>
      <dsp:spPr>
        <a:xfrm>
          <a:off x="0" y="1289595"/>
          <a:ext cx="4221162"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Map to Target Databases</a:t>
          </a:r>
          <a:endParaRPr lang="en-US" sz="2700" kern="1200"/>
        </a:p>
      </dsp:txBody>
      <dsp:txXfrm>
        <a:off x="33926" y="1323521"/>
        <a:ext cx="4153310" cy="627128"/>
      </dsp:txXfrm>
    </dsp:sp>
    <dsp:sp modelId="{6DEA7C7C-19D1-4F31-B284-3316986224E6}">
      <dsp:nvSpPr>
        <dsp:cNvPr id="0" name=""/>
        <dsp:cNvSpPr/>
      </dsp:nvSpPr>
      <dsp:spPr>
        <a:xfrm>
          <a:off x="0" y="2062335"/>
          <a:ext cx="4221162"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hoose validation Option</a:t>
          </a:r>
          <a:endParaRPr lang="en-US" sz="2700" kern="1200"/>
        </a:p>
      </dsp:txBody>
      <dsp:txXfrm>
        <a:off x="33926" y="2096261"/>
        <a:ext cx="4153310" cy="627128"/>
      </dsp:txXfrm>
    </dsp:sp>
    <dsp:sp modelId="{5D747A15-8A24-4FBF-87CD-CE99984A4233}">
      <dsp:nvSpPr>
        <dsp:cNvPr id="0" name=""/>
        <dsp:cNvSpPr/>
      </dsp:nvSpPr>
      <dsp:spPr>
        <a:xfrm>
          <a:off x="0" y="2835075"/>
          <a:ext cx="4221162"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Run the Migration</a:t>
          </a:r>
          <a:endParaRPr lang="en-US" sz="2700" kern="1200"/>
        </a:p>
      </dsp:txBody>
      <dsp:txXfrm>
        <a:off x="33926" y="2869001"/>
        <a:ext cx="4153310" cy="627128"/>
      </dsp:txXfrm>
    </dsp:sp>
    <dsp:sp modelId="{C6120FE1-ADBB-4F2A-B708-6BBE0CF5E70F}">
      <dsp:nvSpPr>
        <dsp:cNvPr id="0" name=""/>
        <dsp:cNvSpPr/>
      </dsp:nvSpPr>
      <dsp:spPr>
        <a:xfrm>
          <a:off x="0" y="3607814"/>
          <a:ext cx="4221162"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Monitor the Migration</a:t>
          </a:r>
          <a:endParaRPr lang="en-US" sz="2700" kern="1200"/>
        </a:p>
      </dsp:txBody>
      <dsp:txXfrm>
        <a:off x="33926" y="3641740"/>
        <a:ext cx="4153310" cy="62712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A69857-ACEC-4468-9B78-17D0B148BA24}">
      <dsp:nvSpPr>
        <dsp:cNvPr id="0" name=""/>
        <dsp:cNvSpPr/>
      </dsp:nvSpPr>
      <dsp:spPr>
        <a:xfrm>
          <a:off x="-5323566" y="-815270"/>
          <a:ext cx="6339089" cy="6339089"/>
        </a:xfrm>
        <a:prstGeom prst="blockArc">
          <a:avLst>
            <a:gd name="adj1" fmla="val 18900000"/>
            <a:gd name="adj2" fmla="val 2700000"/>
            <a:gd name="adj3" fmla="val 32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0A4D61-6858-4E35-B899-E0718499CD03}">
      <dsp:nvSpPr>
        <dsp:cNvPr id="0" name=""/>
        <dsp:cNvSpPr/>
      </dsp:nvSpPr>
      <dsp:spPr>
        <a:xfrm>
          <a:off x="444098" y="294190"/>
          <a:ext cx="10371260" cy="5887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7326"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Choose the highest service level and performance tier.</a:t>
          </a:r>
          <a:endParaRPr lang="nl-BE" sz="2000" kern="1200" dirty="0">
            <a:latin typeface="Segoe UI"/>
            <a:ea typeface="+mn-ea"/>
            <a:cs typeface="+mn-cs"/>
          </a:endParaRPr>
        </a:p>
      </dsp:txBody>
      <dsp:txXfrm>
        <a:off x="444098" y="294190"/>
        <a:ext cx="10371260" cy="588756"/>
      </dsp:txXfrm>
    </dsp:sp>
    <dsp:sp modelId="{29C0DA39-E4D9-4367-8569-836E982F2783}">
      <dsp:nvSpPr>
        <dsp:cNvPr id="0" name=""/>
        <dsp:cNvSpPr/>
      </dsp:nvSpPr>
      <dsp:spPr>
        <a:xfrm>
          <a:off x="76125" y="220595"/>
          <a:ext cx="735946" cy="73594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133CFC2-9CBC-4C82-B77F-0D24DFB5BB26}">
      <dsp:nvSpPr>
        <dsp:cNvPr id="0" name=""/>
        <dsp:cNvSpPr/>
      </dsp:nvSpPr>
      <dsp:spPr>
        <a:xfrm>
          <a:off x="865984" y="1177043"/>
          <a:ext cx="9949375" cy="5887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7326"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Minimize the distance between your BACPAC file and the destination data center.</a:t>
          </a:r>
          <a:endParaRPr lang="nl-BE" sz="2000" kern="1200" dirty="0">
            <a:latin typeface="Segoe UI"/>
            <a:ea typeface="+mn-ea"/>
            <a:cs typeface="+mn-cs"/>
          </a:endParaRPr>
        </a:p>
      </dsp:txBody>
      <dsp:txXfrm>
        <a:off x="865984" y="1177043"/>
        <a:ext cx="9949375" cy="588756"/>
      </dsp:txXfrm>
    </dsp:sp>
    <dsp:sp modelId="{AF578D8A-58D4-4CF4-9210-E09999647115}">
      <dsp:nvSpPr>
        <dsp:cNvPr id="0" name=""/>
        <dsp:cNvSpPr/>
      </dsp:nvSpPr>
      <dsp:spPr>
        <a:xfrm>
          <a:off x="498011" y="1103448"/>
          <a:ext cx="735946" cy="73594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56C505-B065-4C8F-B356-36FEDA400909}">
      <dsp:nvSpPr>
        <dsp:cNvPr id="0" name=""/>
        <dsp:cNvSpPr/>
      </dsp:nvSpPr>
      <dsp:spPr>
        <a:xfrm>
          <a:off x="995469" y="2059896"/>
          <a:ext cx="9819889" cy="5887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7326"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Disable auto-statistics during migration.</a:t>
          </a:r>
          <a:endParaRPr lang="nl-BE" sz="2000" kern="1200" dirty="0">
            <a:latin typeface="Segoe UI"/>
            <a:ea typeface="+mn-ea"/>
            <a:cs typeface="+mn-cs"/>
          </a:endParaRPr>
        </a:p>
      </dsp:txBody>
      <dsp:txXfrm>
        <a:off x="995469" y="2059896"/>
        <a:ext cx="9819889" cy="588756"/>
      </dsp:txXfrm>
    </dsp:sp>
    <dsp:sp modelId="{8BEC6F4E-62E8-40D3-BBEA-E6E7856506ED}">
      <dsp:nvSpPr>
        <dsp:cNvPr id="0" name=""/>
        <dsp:cNvSpPr/>
      </dsp:nvSpPr>
      <dsp:spPr>
        <a:xfrm>
          <a:off x="627496" y="1986301"/>
          <a:ext cx="735946" cy="73594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892F4C2-2AD0-47EA-9BDD-093A92D2AD57}">
      <dsp:nvSpPr>
        <dsp:cNvPr id="0" name=""/>
        <dsp:cNvSpPr/>
      </dsp:nvSpPr>
      <dsp:spPr>
        <a:xfrm>
          <a:off x="865984" y="2942748"/>
          <a:ext cx="9949375" cy="5887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7326"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Partition tables and indexes.</a:t>
          </a:r>
          <a:endParaRPr lang="nl-BE" sz="2000" kern="1200" dirty="0">
            <a:latin typeface="Segoe UI"/>
            <a:ea typeface="+mn-ea"/>
            <a:cs typeface="+mn-cs"/>
          </a:endParaRPr>
        </a:p>
      </dsp:txBody>
      <dsp:txXfrm>
        <a:off x="865984" y="2942748"/>
        <a:ext cx="9949375" cy="588756"/>
      </dsp:txXfrm>
    </dsp:sp>
    <dsp:sp modelId="{68A712B5-7A9D-4BC8-A768-AD1C45F2202F}">
      <dsp:nvSpPr>
        <dsp:cNvPr id="0" name=""/>
        <dsp:cNvSpPr/>
      </dsp:nvSpPr>
      <dsp:spPr>
        <a:xfrm>
          <a:off x="498011" y="2869154"/>
          <a:ext cx="735946" cy="73594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463F72-D41C-4CCE-90EF-2EE8D043501E}">
      <dsp:nvSpPr>
        <dsp:cNvPr id="0" name=""/>
        <dsp:cNvSpPr/>
      </dsp:nvSpPr>
      <dsp:spPr>
        <a:xfrm>
          <a:off x="435386" y="3825601"/>
          <a:ext cx="10371260" cy="58875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7326"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Drop indexed views and recreate them once finished.</a:t>
          </a:r>
          <a:endParaRPr lang="nl-BE" sz="2000" kern="1200" dirty="0">
            <a:latin typeface="Segoe UI"/>
            <a:ea typeface="+mn-ea"/>
            <a:cs typeface="+mn-cs"/>
          </a:endParaRPr>
        </a:p>
      </dsp:txBody>
      <dsp:txXfrm>
        <a:off x="435386" y="3825601"/>
        <a:ext cx="10371260" cy="588756"/>
      </dsp:txXfrm>
    </dsp:sp>
    <dsp:sp modelId="{B0D07764-F9C5-43E8-B28E-3E72D725A643}">
      <dsp:nvSpPr>
        <dsp:cNvPr id="0" name=""/>
        <dsp:cNvSpPr/>
      </dsp:nvSpPr>
      <dsp:spPr>
        <a:xfrm>
          <a:off x="76125" y="3752007"/>
          <a:ext cx="735946" cy="73594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5143"/>
          <a:ext cx="10880725" cy="865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solidFill>
                <a:srgbClr val="FFFFFF"/>
              </a:solidFill>
            </a:rPr>
            <a:t>What are the different migration methods that you can use to migrate your on-premises database to Azure SQL Database?</a:t>
          </a:r>
          <a:endParaRPr lang="en-US" sz="2000" kern="1200" dirty="0"/>
        </a:p>
      </dsp:txBody>
      <dsp:txXfrm>
        <a:off x="42265" y="77408"/>
        <a:ext cx="10796195" cy="781270"/>
      </dsp:txXfrm>
    </dsp:sp>
    <dsp:sp modelId="{E922B38C-D007-46D8-9A79-C8E951BC8385}">
      <dsp:nvSpPr>
        <dsp:cNvPr id="0" name=""/>
        <dsp:cNvSpPr/>
      </dsp:nvSpPr>
      <dsp:spPr>
        <a:xfrm>
          <a:off x="0" y="958543"/>
          <a:ext cx="10880725" cy="865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How is the fully managed service designed to enable seamless migrations called?</a:t>
          </a:r>
        </a:p>
      </dsp:txBody>
      <dsp:txXfrm>
        <a:off x="42265" y="1000808"/>
        <a:ext cx="10796195" cy="781270"/>
      </dsp:txXfrm>
    </dsp:sp>
    <dsp:sp modelId="{D78D5B8C-516B-4BCF-A5AF-224A2ACCF1A0}">
      <dsp:nvSpPr>
        <dsp:cNvPr id="0" name=""/>
        <dsp:cNvSpPr/>
      </dsp:nvSpPr>
      <dsp:spPr>
        <a:xfrm>
          <a:off x="0" y="1881943"/>
          <a:ext cx="10880725" cy="865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solidFill>
                <a:srgbClr val="FFFFFF"/>
              </a:solidFill>
            </a:rPr>
            <a:t>“I want to migrate my on-premises database to Azure SQL Database. The migration downtime can only be a few minutes.” Which migration method should I use?</a:t>
          </a:r>
          <a:endParaRPr lang="en-US" sz="2000" kern="1200" dirty="0"/>
        </a:p>
      </dsp:txBody>
      <dsp:txXfrm>
        <a:off x="42265" y="1924208"/>
        <a:ext cx="10796195" cy="78127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FEB108-1954-4889-A9C2-42381010DE64}">
      <dsp:nvSpPr>
        <dsp:cNvPr id="0" name=""/>
        <dsp:cNvSpPr/>
      </dsp:nvSpPr>
      <dsp:spPr>
        <a:xfrm>
          <a:off x="3030538" y="0"/>
          <a:ext cx="4819650" cy="4819650"/>
        </a:xfrm>
        <a:prstGeom prst="ellipse">
          <a:avLst/>
        </a:prstGeom>
        <a:solidFill>
          <a:schemeClr val="lt1">
            <a:alpha val="50000"/>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baseline="0"/>
            <a:t>SQL Data Sync is a service built on Azure SQL Database that lets you synchronize the data you select bi-directionally across multiple SQL databases and SQL Server instances.</a:t>
          </a:r>
          <a:endParaRPr lang="en-US" sz="2400" kern="1200"/>
        </a:p>
      </dsp:txBody>
      <dsp:txXfrm>
        <a:off x="3736359" y="705821"/>
        <a:ext cx="3408008" cy="340800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4E388C-6B98-4514-A32A-0D9CF7EF5349}">
      <dsp:nvSpPr>
        <dsp:cNvPr id="0" name=""/>
        <dsp:cNvSpPr/>
      </dsp:nvSpPr>
      <dsp:spPr>
        <a:xfrm>
          <a:off x="473342" y="1139080"/>
          <a:ext cx="2653790" cy="218882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n-US" sz="1600" kern="1200" baseline="0" dirty="0">
              <a:latin typeface="Segoe UI"/>
              <a:ea typeface="+mn-ea"/>
              <a:cs typeface="+mn-cs"/>
            </a:rPr>
            <a:t>Data Sync </a:t>
          </a:r>
          <a:r>
            <a:rPr lang="en-US" sz="1600" b="1" kern="1200" baseline="0" dirty="0">
              <a:latin typeface="Segoe UI"/>
              <a:ea typeface="+mn-ea"/>
              <a:cs typeface="+mn-cs"/>
            </a:rPr>
            <a:t>tracks</a:t>
          </a:r>
          <a:r>
            <a:rPr lang="en-US" sz="1600" kern="1200" baseline="0" dirty="0">
              <a:latin typeface="Segoe UI"/>
              <a:ea typeface="+mn-ea"/>
              <a:cs typeface="+mn-cs"/>
            </a:rPr>
            <a:t> changes using </a:t>
          </a:r>
          <a:r>
            <a:rPr lang="en-US" sz="1600" b="1" kern="1200" baseline="0" dirty="0">
              <a:latin typeface="Segoe UI"/>
              <a:ea typeface="+mn-ea"/>
              <a:cs typeface="+mn-cs"/>
            </a:rPr>
            <a:t>insert</a:t>
          </a:r>
          <a:r>
            <a:rPr lang="en-US" sz="1600" kern="1200" baseline="0" dirty="0">
              <a:latin typeface="Segoe UI"/>
              <a:ea typeface="+mn-ea"/>
              <a:cs typeface="+mn-cs"/>
            </a:rPr>
            <a:t>, </a:t>
          </a:r>
          <a:r>
            <a:rPr lang="en-US" sz="1600" b="1" kern="1200" baseline="0" dirty="0">
              <a:latin typeface="Segoe UI"/>
              <a:ea typeface="+mn-ea"/>
              <a:cs typeface="+mn-cs"/>
            </a:rPr>
            <a:t>update</a:t>
          </a:r>
          <a:r>
            <a:rPr lang="en-US" sz="1600" kern="1200" baseline="0" dirty="0">
              <a:latin typeface="Segoe UI"/>
              <a:ea typeface="+mn-ea"/>
              <a:cs typeface="+mn-cs"/>
            </a:rPr>
            <a:t>, and </a:t>
          </a:r>
          <a:r>
            <a:rPr lang="en-US" sz="1600" b="1" kern="1200" baseline="0" dirty="0">
              <a:latin typeface="Segoe UI"/>
              <a:ea typeface="+mn-ea"/>
              <a:cs typeface="+mn-cs"/>
            </a:rPr>
            <a:t>delete</a:t>
          </a:r>
          <a:r>
            <a:rPr lang="en-US" sz="1600" kern="1200" baseline="0" dirty="0">
              <a:latin typeface="Segoe UI"/>
              <a:ea typeface="+mn-ea"/>
              <a:cs typeface="+mn-cs"/>
            </a:rPr>
            <a:t> </a:t>
          </a:r>
          <a:r>
            <a:rPr lang="en-US" sz="1600" b="1" kern="1200" baseline="0" dirty="0">
              <a:latin typeface="Segoe UI"/>
              <a:ea typeface="+mn-ea"/>
              <a:cs typeface="+mn-cs"/>
            </a:rPr>
            <a:t>triggers</a:t>
          </a:r>
          <a:r>
            <a:rPr lang="en-US" sz="1600" kern="1200" baseline="0" dirty="0">
              <a:latin typeface="Segoe UI"/>
              <a:ea typeface="+mn-ea"/>
              <a:cs typeface="+mn-cs"/>
            </a:rPr>
            <a:t>. The changes are </a:t>
          </a:r>
          <a:r>
            <a:rPr lang="en-US" sz="1600" b="1" kern="1200" baseline="0" dirty="0">
              <a:latin typeface="Segoe UI"/>
              <a:ea typeface="+mn-ea"/>
              <a:cs typeface="+mn-cs"/>
            </a:rPr>
            <a:t>recorded</a:t>
          </a:r>
          <a:r>
            <a:rPr lang="en-US" sz="1600" kern="1200" baseline="0" dirty="0">
              <a:latin typeface="Segoe UI"/>
              <a:ea typeface="+mn-ea"/>
              <a:cs typeface="+mn-cs"/>
            </a:rPr>
            <a:t> in a side table in the </a:t>
          </a:r>
          <a:r>
            <a:rPr lang="en-US" sz="1600" b="1" kern="1200" baseline="0" dirty="0">
              <a:latin typeface="Segoe UI"/>
              <a:ea typeface="+mn-ea"/>
              <a:cs typeface="+mn-cs"/>
            </a:rPr>
            <a:t>user database</a:t>
          </a:r>
          <a:r>
            <a:rPr lang="en-US" sz="1600" kern="1200" baseline="0" dirty="0">
              <a:latin typeface="Segoe UI"/>
              <a:ea typeface="+mn-ea"/>
              <a:cs typeface="+mn-cs"/>
            </a:rPr>
            <a:t>.</a:t>
          </a:r>
          <a:endParaRPr lang="nl-BE" sz="1600" kern="1200" dirty="0">
            <a:latin typeface="Segoe UI"/>
            <a:ea typeface="+mn-ea"/>
            <a:cs typeface="+mn-cs"/>
          </a:endParaRPr>
        </a:p>
      </dsp:txBody>
      <dsp:txXfrm>
        <a:off x="473342" y="1139080"/>
        <a:ext cx="2653790" cy="1719788"/>
      </dsp:txXfrm>
    </dsp:sp>
    <dsp:sp modelId="{FC6BF989-F978-46B3-B4B6-8AFB28489C7A}">
      <dsp:nvSpPr>
        <dsp:cNvPr id="0" name=""/>
        <dsp:cNvSpPr/>
      </dsp:nvSpPr>
      <dsp:spPr>
        <a:xfrm>
          <a:off x="1814740" y="1604891"/>
          <a:ext cx="3147113" cy="3147113"/>
        </a:xfrm>
        <a:prstGeom prst="leftCircularArrow">
          <a:avLst>
            <a:gd name="adj1" fmla="val 3656"/>
            <a:gd name="adj2" fmla="val 455254"/>
            <a:gd name="adj3" fmla="val 2230765"/>
            <a:gd name="adj4" fmla="val 9024489"/>
            <a:gd name="adj5" fmla="val 4265"/>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3CC0F7-20EB-44FD-A27B-85F3E8928937}">
      <dsp:nvSpPr>
        <dsp:cNvPr id="0" name=""/>
        <dsp:cNvSpPr/>
      </dsp:nvSpPr>
      <dsp:spPr>
        <a:xfrm>
          <a:off x="1031393" y="3171583"/>
          <a:ext cx="2358924" cy="93806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en-US" sz="2600" b="1" kern="1200" baseline="0">
              <a:latin typeface="Segoe UI"/>
              <a:ea typeface="+mn-ea"/>
              <a:cs typeface="+mn-cs"/>
            </a:rPr>
            <a:t>Tracking data changes</a:t>
          </a:r>
          <a:endParaRPr lang="nl-BE" sz="2600" kern="1200" dirty="0">
            <a:latin typeface="Segoe UI"/>
            <a:ea typeface="+mn-ea"/>
            <a:cs typeface="+mn-cs"/>
          </a:endParaRPr>
        </a:p>
      </dsp:txBody>
      <dsp:txXfrm>
        <a:off x="1031393" y="3171583"/>
        <a:ext cx="2358924" cy="938066"/>
      </dsp:txXfrm>
    </dsp:sp>
    <dsp:sp modelId="{BDB0CB65-776C-42C0-8AAD-DC8078AEB59C}">
      <dsp:nvSpPr>
        <dsp:cNvPr id="0" name=""/>
        <dsp:cNvSpPr/>
      </dsp:nvSpPr>
      <dsp:spPr>
        <a:xfrm>
          <a:off x="3966034" y="1155406"/>
          <a:ext cx="2653790" cy="2244768"/>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b" anchorCtr="0">
          <a:noAutofit/>
        </a:bodyPr>
        <a:lstStyle/>
        <a:p>
          <a:pPr marL="114300" lvl="1" indent="-114300" algn="l" defTabSz="622300">
            <a:lnSpc>
              <a:spcPct val="90000"/>
            </a:lnSpc>
            <a:spcBef>
              <a:spcPct val="0"/>
            </a:spcBef>
            <a:spcAft>
              <a:spcPct val="15000"/>
            </a:spcAft>
            <a:buChar char="•"/>
          </a:pPr>
          <a:r>
            <a:rPr lang="en-US" sz="1400" kern="1200" baseline="0">
              <a:latin typeface="Segoe UI"/>
              <a:ea typeface="+mn-ea"/>
              <a:cs typeface="+mn-cs"/>
            </a:rPr>
            <a:t>Data Sync is designed in a </a:t>
          </a:r>
          <a:r>
            <a:rPr lang="en-US" sz="1400" b="1" kern="1200" baseline="0">
              <a:latin typeface="Segoe UI"/>
              <a:ea typeface="+mn-ea"/>
              <a:cs typeface="+mn-cs"/>
            </a:rPr>
            <a:t>Hub and Spoke model</a:t>
          </a:r>
          <a:r>
            <a:rPr lang="en-US" sz="1400" kern="1200" baseline="0">
              <a:latin typeface="Segoe UI"/>
              <a:ea typeface="+mn-ea"/>
              <a:cs typeface="+mn-cs"/>
            </a:rPr>
            <a:t>. The Hub syncs with each member individually. Changes </a:t>
          </a:r>
          <a:r>
            <a:rPr lang="en-US" sz="1400" b="1" kern="1200" baseline="0">
              <a:latin typeface="Segoe UI"/>
              <a:ea typeface="+mn-ea"/>
              <a:cs typeface="+mn-cs"/>
            </a:rPr>
            <a:t>from the Hub </a:t>
          </a:r>
          <a:r>
            <a:rPr lang="en-US" sz="1400" kern="1200" baseline="0">
              <a:latin typeface="Segoe UI"/>
              <a:ea typeface="+mn-ea"/>
              <a:cs typeface="+mn-cs"/>
            </a:rPr>
            <a:t>are </a:t>
          </a:r>
          <a:r>
            <a:rPr lang="en-US" sz="1400" b="1" kern="1200" baseline="0">
              <a:latin typeface="Segoe UI"/>
              <a:ea typeface="+mn-ea"/>
              <a:cs typeface="+mn-cs"/>
            </a:rPr>
            <a:t>downloaded</a:t>
          </a:r>
          <a:r>
            <a:rPr lang="en-US" sz="1400" kern="1200" baseline="0">
              <a:latin typeface="Segoe UI"/>
              <a:ea typeface="+mn-ea"/>
              <a:cs typeface="+mn-cs"/>
            </a:rPr>
            <a:t> to the </a:t>
          </a:r>
          <a:r>
            <a:rPr lang="en-US" sz="1400" b="1" kern="1200" baseline="0">
              <a:latin typeface="Segoe UI"/>
              <a:ea typeface="+mn-ea"/>
              <a:cs typeface="+mn-cs"/>
            </a:rPr>
            <a:t>member</a:t>
          </a:r>
          <a:r>
            <a:rPr lang="en-US" sz="1400" kern="1200" baseline="0">
              <a:latin typeface="Segoe UI"/>
              <a:ea typeface="+mn-ea"/>
              <a:cs typeface="+mn-cs"/>
            </a:rPr>
            <a:t> and then changes </a:t>
          </a:r>
          <a:r>
            <a:rPr lang="en-US" sz="1400" b="1" kern="1200" baseline="0">
              <a:latin typeface="Segoe UI"/>
              <a:ea typeface="+mn-ea"/>
              <a:cs typeface="+mn-cs"/>
            </a:rPr>
            <a:t>from the member </a:t>
          </a:r>
          <a:r>
            <a:rPr lang="en-US" sz="1400" kern="1200" baseline="0">
              <a:latin typeface="Segoe UI"/>
              <a:ea typeface="+mn-ea"/>
              <a:cs typeface="+mn-cs"/>
            </a:rPr>
            <a:t>are </a:t>
          </a:r>
          <a:r>
            <a:rPr lang="en-US" sz="1400" b="1" kern="1200" baseline="0">
              <a:latin typeface="Segoe UI"/>
              <a:ea typeface="+mn-ea"/>
              <a:cs typeface="+mn-cs"/>
            </a:rPr>
            <a:t>uploaded</a:t>
          </a:r>
          <a:r>
            <a:rPr lang="en-US" sz="1400" kern="1200" baseline="0">
              <a:latin typeface="Segoe UI"/>
              <a:ea typeface="+mn-ea"/>
              <a:cs typeface="+mn-cs"/>
            </a:rPr>
            <a:t> to the </a:t>
          </a:r>
          <a:r>
            <a:rPr lang="en-US" sz="1400" b="1" kern="1200" baseline="0">
              <a:latin typeface="Segoe UI"/>
              <a:ea typeface="+mn-ea"/>
              <a:cs typeface="+mn-cs"/>
            </a:rPr>
            <a:t>Hub</a:t>
          </a:r>
          <a:r>
            <a:rPr lang="en-US" sz="1400" kern="1200" baseline="0">
              <a:latin typeface="Segoe UI"/>
              <a:ea typeface="+mn-ea"/>
              <a:cs typeface="+mn-cs"/>
            </a:rPr>
            <a:t>.</a:t>
          </a:r>
          <a:endParaRPr lang="nl-BE" sz="1400" kern="1200" dirty="0">
            <a:latin typeface="Segoe UI"/>
            <a:ea typeface="+mn-ea"/>
            <a:cs typeface="+mn-cs"/>
          </a:endParaRPr>
        </a:p>
      </dsp:txBody>
      <dsp:txXfrm>
        <a:off x="3966034" y="1636428"/>
        <a:ext cx="2653790" cy="1763746"/>
      </dsp:txXfrm>
    </dsp:sp>
    <dsp:sp modelId="{C7B578CD-9829-4E5E-BD98-C536AB7DBE83}">
      <dsp:nvSpPr>
        <dsp:cNvPr id="0" name=""/>
        <dsp:cNvSpPr/>
      </dsp:nvSpPr>
      <dsp:spPr>
        <a:xfrm>
          <a:off x="5336141" y="-86126"/>
          <a:ext cx="3437792" cy="3437792"/>
        </a:xfrm>
        <a:prstGeom prst="circularArrow">
          <a:avLst>
            <a:gd name="adj1" fmla="val 3293"/>
            <a:gd name="adj2" fmla="val 406605"/>
            <a:gd name="adj3" fmla="val 19417884"/>
            <a:gd name="adj4" fmla="val 12575511"/>
            <a:gd name="adj5" fmla="val 3842"/>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02A472-C347-454B-9140-B0C316380FA7}">
      <dsp:nvSpPr>
        <dsp:cNvPr id="0" name=""/>
        <dsp:cNvSpPr/>
      </dsp:nvSpPr>
      <dsp:spPr>
        <a:xfrm>
          <a:off x="4562465" y="428183"/>
          <a:ext cx="2358924" cy="93806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en-US" sz="2600" b="1" kern="1200" baseline="0">
              <a:latin typeface="Segoe UI"/>
              <a:ea typeface="+mn-ea"/>
              <a:cs typeface="+mn-cs"/>
            </a:rPr>
            <a:t>Synchronizing data</a:t>
          </a:r>
          <a:endParaRPr lang="nl-BE" sz="2600" kern="1200" dirty="0">
            <a:latin typeface="Segoe UI"/>
            <a:ea typeface="+mn-ea"/>
            <a:cs typeface="+mn-cs"/>
          </a:endParaRPr>
        </a:p>
      </dsp:txBody>
      <dsp:txXfrm>
        <a:off x="4562465" y="428183"/>
        <a:ext cx="2358924" cy="938066"/>
      </dsp:txXfrm>
    </dsp:sp>
    <dsp:sp modelId="{0899E82A-16EE-4280-A22B-3F89B30A5253}">
      <dsp:nvSpPr>
        <dsp:cNvPr id="0" name=""/>
        <dsp:cNvSpPr/>
      </dsp:nvSpPr>
      <dsp:spPr>
        <a:xfrm>
          <a:off x="7458727" y="1139080"/>
          <a:ext cx="2653790" cy="2188822"/>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latin typeface="Segoe UI"/>
              <a:ea typeface="+mn-ea"/>
              <a:cs typeface="+mn-cs"/>
            </a:rPr>
            <a:t>Hub wins</a:t>
          </a:r>
          <a:endParaRPr lang="nl-BE" sz="2400" kern="1200" dirty="0">
            <a:latin typeface="Segoe UI"/>
            <a:ea typeface="+mn-ea"/>
            <a:cs typeface="+mn-cs"/>
          </a:endParaRPr>
        </a:p>
        <a:p>
          <a:pPr marL="228600" lvl="1" indent="-228600" algn="l" defTabSz="1066800">
            <a:lnSpc>
              <a:spcPct val="90000"/>
            </a:lnSpc>
            <a:spcBef>
              <a:spcPct val="0"/>
            </a:spcBef>
            <a:spcAft>
              <a:spcPct val="15000"/>
            </a:spcAft>
            <a:buChar char="•"/>
          </a:pPr>
          <a:r>
            <a:rPr lang="en-US" sz="2400" kern="1200" baseline="0">
              <a:latin typeface="Segoe UI"/>
              <a:ea typeface="+mn-ea"/>
              <a:cs typeface="+mn-cs"/>
            </a:rPr>
            <a:t>Member wins</a:t>
          </a:r>
          <a:endParaRPr lang="nl-BE" sz="2400" kern="1200" dirty="0">
            <a:latin typeface="Segoe UI"/>
            <a:ea typeface="+mn-ea"/>
            <a:cs typeface="+mn-cs"/>
          </a:endParaRPr>
        </a:p>
      </dsp:txBody>
      <dsp:txXfrm>
        <a:off x="7458727" y="1139080"/>
        <a:ext cx="2653790" cy="1719788"/>
      </dsp:txXfrm>
    </dsp:sp>
    <dsp:sp modelId="{4951BF6D-996E-4824-A47C-804E63481561}">
      <dsp:nvSpPr>
        <dsp:cNvPr id="0" name=""/>
        <dsp:cNvSpPr/>
      </dsp:nvSpPr>
      <dsp:spPr>
        <a:xfrm>
          <a:off x="8048458" y="2858869"/>
          <a:ext cx="2358924" cy="93806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en-US" sz="2600" b="1" kern="1200" baseline="0">
              <a:latin typeface="Segoe UI"/>
              <a:ea typeface="+mn-ea"/>
              <a:cs typeface="+mn-cs"/>
            </a:rPr>
            <a:t>Resolving conflicts</a:t>
          </a:r>
          <a:endParaRPr lang="nl-BE" sz="2600" kern="1200" dirty="0">
            <a:latin typeface="Segoe UI"/>
            <a:ea typeface="+mn-ea"/>
            <a:cs typeface="+mn-cs"/>
          </a:endParaRPr>
        </a:p>
      </dsp:txBody>
      <dsp:txXfrm>
        <a:off x="8048458" y="2858869"/>
        <a:ext cx="2358924" cy="93806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390113-BE25-4349-BF38-3689C6DD2EEE}">
      <dsp:nvSpPr>
        <dsp:cNvPr id="0" name=""/>
        <dsp:cNvSpPr/>
      </dsp:nvSpPr>
      <dsp:spPr>
        <a:xfrm>
          <a:off x="0" y="588944"/>
          <a:ext cx="10880726"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21D680-6214-4AD7-925C-C7270298FD07}">
      <dsp:nvSpPr>
        <dsp:cNvPr id="0" name=""/>
        <dsp:cNvSpPr/>
      </dsp:nvSpPr>
      <dsp:spPr>
        <a:xfrm>
          <a:off x="544036" y="57584"/>
          <a:ext cx="7616508"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Hybrid Data Synchronization</a:t>
          </a:r>
          <a:endParaRPr lang="en-US" sz="2400" kern="1200" dirty="0"/>
        </a:p>
      </dsp:txBody>
      <dsp:txXfrm>
        <a:off x="595914" y="109462"/>
        <a:ext cx="7512752" cy="958964"/>
      </dsp:txXfrm>
    </dsp:sp>
    <dsp:sp modelId="{1582B8B0-E3AD-44F9-A993-0348D1369488}">
      <dsp:nvSpPr>
        <dsp:cNvPr id="0" name=""/>
        <dsp:cNvSpPr/>
      </dsp:nvSpPr>
      <dsp:spPr>
        <a:xfrm>
          <a:off x="0" y="2221905"/>
          <a:ext cx="10880726"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C985EF-7B24-45C1-AA38-7F956649A7D0}">
      <dsp:nvSpPr>
        <dsp:cNvPr id="0" name=""/>
        <dsp:cNvSpPr/>
      </dsp:nvSpPr>
      <dsp:spPr>
        <a:xfrm>
          <a:off x="544036" y="1690545"/>
          <a:ext cx="7616508"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a:t>Distributed Applications</a:t>
          </a:r>
          <a:endParaRPr lang="en-US" sz="2400" kern="1200"/>
        </a:p>
      </dsp:txBody>
      <dsp:txXfrm>
        <a:off x="595914" y="1742423"/>
        <a:ext cx="7512752" cy="958964"/>
      </dsp:txXfrm>
    </dsp:sp>
    <dsp:sp modelId="{24A9C8E0-C6A7-47E7-BAF1-313B19FCA475}">
      <dsp:nvSpPr>
        <dsp:cNvPr id="0" name=""/>
        <dsp:cNvSpPr/>
      </dsp:nvSpPr>
      <dsp:spPr>
        <a:xfrm>
          <a:off x="0" y="3854865"/>
          <a:ext cx="10880726"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2BCC9C-1B2A-4FD3-BC42-CBB25E499C90}">
      <dsp:nvSpPr>
        <dsp:cNvPr id="0" name=""/>
        <dsp:cNvSpPr/>
      </dsp:nvSpPr>
      <dsp:spPr>
        <a:xfrm>
          <a:off x="544036" y="3323505"/>
          <a:ext cx="7616508"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Globally Distributed Applications</a:t>
          </a:r>
          <a:endParaRPr lang="en-US" sz="2400" kern="1200" dirty="0"/>
        </a:p>
      </dsp:txBody>
      <dsp:txXfrm>
        <a:off x="595914" y="3375383"/>
        <a:ext cx="7512752" cy="95896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0F55DE-C72D-4C5E-B71B-3F5F589870CF}">
      <dsp:nvSpPr>
        <dsp:cNvPr id="0" name=""/>
        <dsp:cNvSpPr/>
      </dsp:nvSpPr>
      <dsp:spPr>
        <a:xfrm>
          <a:off x="0" y="704950"/>
          <a:ext cx="10880725" cy="3055596"/>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a:ea typeface="+mn-ea"/>
              <a:cs typeface="+mn-cs"/>
            </a:rPr>
            <a:t>Set the maximum size so that it's always larger than the database you deploy.</a:t>
          </a:r>
          <a:endParaRPr lang="nl-BE" sz="2000" kern="1200" dirty="0">
            <a:latin typeface="Segoe UI"/>
            <a:ea typeface="+mn-ea"/>
            <a:cs typeface="+mn-cs"/>
          </a:endParaRPr>
        </a:p>
        <a:p>
          <a:pPr marL="228600" lvl="1" indent="-228600" algn="l" defTabSz="889000">
            <a:lnSpc>
              <a:spcPct val="90000"/>
            </a:lnSpc>
            <a:spcBef>
              <a:spcPct val="0"/>
            </a:spcBef>
            <a:spcAft>
              <a:spcPct val="15000"/>
            </a:spcAft>
            <a:buChar char="•"/>
          </a:pPr>
          <a:r>
            <a:rPr lang="en-US" sz="2000" kern="1200" baseline="0" dirty="0">
              <a:latin typeface="Segoe UI"/>
              <a:ea typeface="+mn-ea"/>
              <a:cs typeface="+mn-cs"/>
            </a:rPr>
            <a:t>You don't have to include all the tables that are in a database in a sync group.</a:t>
          </a:r>
          <a:endParaRPr lang="nl-BE" sz="2000" kern="1200" dirty="0">
            <a:latin typeface="Segoe UI"/>
            <a:ea typeface="+mn-ea"/>
            <a:cs typeface="+mn-cs"/>
          </a:endParaRPr>
        </a:p>
        <a:p>
          <a:pPr marL="228600" lvl="1" indent="-228600" algn="l" defTabSz="889000">
            <a:lnSpc>
              <a:spcPct val="90000"/>
            </a:lnSpc>
            <a:spcBef>
              <a:spcPct val="0"/>
            </a:spcBef>
            <a:spcAft>
              <a:spcPct val="15000"/>
            </a:spcAft>
            <a:buChar char="•"/>
          </a:pPr>
          <a:r>
            <a:rPr lang="en-US" sz="2000" kern="1200" baseline="0" dirty="0">
              <a:latin typeface="Segoe UI"/>
              <a:ea typeface="+mn-ea"/>
              <a:cs typeface="+mn-cs"/>
            </a:rPr>
            <a:t>Each table in a sync group </a:t>
          </a:r>
          <a:r>
            <a:rPr lang="en-US" sz="2000" b="1" kern="1200" baseline="0" dirty="0">
              <a:latin typeface="Segoe UI"/>
              <a:ea typeface="+mn-ea"/>
              <a:cs typeface="+mn-cs"/>
            </a:rPr>
            <a:t>must have a primary key.</a:t>
          </a:r>
          <a:endParaRPr lang="nl-BE" sz="2000" b="1" kern="1200" dirty="0">
            <a:latin typeface="Segoe UI"/>
            <a:ea typeface="+mn-ea"/>
            <a:cs typeface="+mn-cs"/>
          </a:endParaRPr>
        </a:p>
        <a:p>
          <a:pPr marL="228600" lvl="1" indent="-228600" algn="l" defTabSz="889000">
            <a:lnSpc>
              <a:spcPct val="90000"/>
            </a:lnSpc>
            <a:spcBef>
              <a:spcPct val="0"/>
            </a:spcBef>
            <a:spcAft>
              <a:spcPct val="15000"/>
            </a:spcAft>
            <a:buChar char="•"/>
          </a:pPr>
          <a:r>
            <a:rPr lang="en-US" sz="2000" b="0" i="0" u="none" kern="1200" dirty="0">
              <a:latin typeface="Segoe UI"/>
              <a:ea typeface="+mn-ea"/>
              <a:cs typeface="+mn-cs"/>
            </a:rPr>
            <a:t>Snapshot isolation </a:t>
          </a:r>
          <a:r>
            <a:rPr lang="en-US" sz="2000" b="1" i="0" u="none" kern="1200" dirty="0">
              <a:latin typeface="Segoe UI"/>
              <a:ea typeface="+mn-ea"/>
              <a:cs typeface="+mn-cs"/>
            </a:rPr>
            <a:t>must</a:t>
          </a:r>
          <a:r>
            <a:rPr lang="en-US" sz="2000" b="0" i="0" u="none" kern="1200" dirty="0">
              <a:latin typeface="Segoe UI"/>
              <a:ea typeface="+mn-ea"/>
              <a:cs typeface="+mn-cs"/>
            </a:rPr>
            <a:t> be enabled.</a:t>
          </a:r>
          <a:endParaRPr lang="nl-BE" sz="2000" kern="1200" dirty="0">
            <a:latin typeface="Segoe UI"/>
            <a:ea typeface="+mn-ea"/>
            <a:cs typeface="+mn-cs"/>
          </a:endParaRPr>
        </a:p>
        <a:p>
          <a:pPr marL="228600" lvl="1" indent="-228600" algn="l" defTabSz="889000">
            <a:lnSpc>
              <a:spcPct val="90000"/>
            </a:lnSpc>
            <a:spcBef>
              <a:spcPct val="0"/>
            </a:spcBef>
            <a:spcAft>
              <a:spcPct val="15000"/>
            </a:spcAft>
            <a:buChar char="•"/>
          </a:pPr>
          <a:r>
            <a:rPr lang="en-US" sz="2000" b="0" i="0" u="none" kern="1200" dirty="0">
              <a:latin typeface="Segoe UI"/>
              <a:ea typeface="+mn-ea"/>
              <a:cs typeface="+mn-cs"/>
            </a:rPr>
            <a:t>Empty tables provide the best performance at initialization time.</a:t>
          </a:r>
          <a:endParaRPr lang="nl-BE" sz="2000" kern="1200" dirty="0">
            <a:latin typeface="Segoe UI"/>
            <a:ea typeface="+mn-ea"/>
            <a:cs typeface="+mn-cs"/>
          </a:endParaRPr>
        </a:p>
        <a:p>
          <a:pPr marL="228600" lvl="1" indent="-228600" algn="l" defTabSz="889000">
            <a:lnSpc>
              <a:spcPct val="90000"/>
            </a:lnSpc>
            <a:spcBef>
              <a:spcPct val="0"/>
            </a:spcBef>
            <a:spcAft>
              <a:spcPct val="15000"/>
            </a:spcAft>
            <a:buChar char="•"/>
          </a:pPr>
          <a:r>
            <a:rPr lang="en-US" sz="2000" kern="1200" baseline="0" dirty="0">
              <a:latin typeface="Segoe UI"/>
              <a:ea typeface="+mn-ea"/>
              <a:cs typeface="+mn-cs"/>
            </a:rPr>
            <a:t>Keep the hub database close to the greatest concentration of the sync group's database traffic.</a:t>
          </a:r>
          <a:endParaRPr lang="nl-BE" sz="2000" kern="1200" dirty="0">
            <a:latin typeface="Segoe UI"/>
            <a:ea typeface="+mn-ea"/>
            <a:cs typeface="+mn-cs"/>
          </a:endParaRPr>
        </a:p>
      </dsp:txBody>
      <dsp:txXfrm>
        <a:off x="0" y="704950"/>
        <a:ext cx="10880725" cy="3055596"/>
      </dsp:txXfrm>
    </dsp:sp>
    <dsp:sp modelId="{457AA378-B501-46B0-A222-DD214B4B0934}">
      <dsp:nvSpPr>
        <dsp:cNvPr id="0" name=""/>
        <dsp:cNvSpPr/>
      </dsp:nvSpPr>
      <dsp:spPr>
        <a:xfrm>
          <a:off x="543504" y="589"/>
          <a:ext cx="7609069" cy="92655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latin typeface="Segoe UI"/>
              <a:ea typeface="+mn-ea"/>
              <a:cs typeface="+mn-cs"/>
            </a:rPr>
            <a:t>Setup</a:t>
          </a:r>
          <a:endParaRPr lang="nl-BE" sz="2400" kern="1200" dirty="0">
            <a:latin typeface="Segoe UI"/>
            <a:ea typeface="+mn-ea"/>
            <a:cs typeface="+mn-cs"/>
          </a:endParaRPr>
        </a:p>
      </dsp:txBody>
      <dsp:txXfrm>
        <a:off x="543504" y="589"/>
        <a:ext cx="7609069" cy="92655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F616B3-A3C8-4D6C-933D-8FF698909F88}">
      <dsp:nvSpPr>
        <dsp:cNvPr id="0" name=""/>
        <dsp:cNvSpPr/>
      </dsp:nvSpPr>
      <dsp:spPr>
        <a:xfrm>
          <a:off x="0" y="339265"/>
          <a:ext cx="10880726" cy="1890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If possible, start with data in only one of the sync group's databases.</a:t>
          </a:r>
          <a:endParaRPr lang="nl-BE" sz="2000" kern="1200" dirty="0"/>
        </a:p>
        <a:p>
          <a:pPr marL="228600" lvl="1" indent="-228600" algn="l" defTabSz="889000">
            <a:lnSpc>
              <a:spcPct val="90000"/>
            </a:lnSpc>
            <a:spcBef>
              <a:spcPct val="0"/>
            </a:spcBef>
            <a:spcAft>
              <a:spcPct val="15000"/>
            </a:spcAft>
            <a:buChar char="•"/>
          </a:pPr>
          <a:r>
            <a:rPr lang="nl-BE" sz="2000" kern="1200"/>
            <a:t>Avoid sync loops.</a:t>
          </a:r>
          <a:endParaRPr lang="nl-BE" sz="2000" kern="1200" dirty="0"/>
        </a:p>
        <a:p>
          <a:pPr marL="228600" lvl="1" indent="-228600" algn="l" defTabSz="889000">
            <a:lnSpc>
              <a:spcPct val="90000"/>
            </a:lnSpc>
            <a:spcBef>
              <a:spcPct val="0"/>
            </a:spcBef>
            <a:spcAft>
              <a:spcPct val="15000"/>
            </a:spcAft>
            <a:buChar char="•"/>
          </a:pPr>
          <a:r>
            <a:rPr lang="en-US" sz="2000" kern="1200"/>
            <a:t>Monitor the sync group and database health regularly through the portal and log interface.</a:t>
          </a:r>
          <a:endParaRPr lang="nl-BE" sz="2000" kern="1200" dirty="0"/>
        </a:p>
      </dsp:txBody>
      <dsp:txXfrm>
        <a:off x="0" y="339265"/>
        <a:ext cx="10880726" cy="1890000"/>
      </dsp:txXfrm>
    </dsp:sp>
    <dsp:sp modelId="{8AB47D91-0E95-49E4-82A9-D034D596F94D}">
      <dsp:nvSpPr>
        <dsp:cNvPr id="0" name=""/>
        <dsp:cNvSpPr/>
      </dsp:nvSpPr>
      <dsp:spPr>
        <a:xfrm>
          <a:off x="544036" y="44065"/>
          <a:ext cx="7616508" cy="5904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a:t>Sync</a:t>
          </a:r>
          <a:endParaRPr lang="nl-BE" sz="2000" kern="1200" dirty="0"/>
        </a:p>
      </dsp:txBody>
      <dsp:txXfrm>
        <a:off x="544036" y="44065"/>
        <a:ext cx="7616508" cy="590400"/>
      </dsp:txXfrm>
    </dsp:sp>
    <dsp:sp modelId="{2382CAE7-E715-460E-A67C-9C94532AB3F0}">
      <dsp:nvSpPr>
        <dsp:cNvPr id="0" name=""/>
        <dsp:cNvSpPr/>
      </dsp:nvSpPr>
      <dsp:spPr>
        <a:xfrm>
          <a:off x="0" y="2632465"/>
          <a:ext cx="10880726" cy="2268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Avoid an out-of-date status on a database.</a:t>
          </a:r>
          <a:endParaRPr lang="nl-BE" sz="2000" kern="1200" dirty="0"/>
        </a:p>
        <a:p>
          <a:pPr marL="228600" lvl="1" indent="-228600" algn="l" defTabSz="889000">
            <a:lnSpc>
              <a:spcPct val="90000"/>
            </a:lnSpc>
            <a:spcBef>
              <a:spcPct val="0"/>
            </a:spcBef>
            <a:spcAft>
              <a:spcPct val="15000"/>
            </a:spcAft>
            <a:buChar char="•"/>
          </a:pPr>
          <a:r>
            <a:rPr lang="en-US" sz="2000" kern="1200"/>
            <a:t>Avoid an out-of-date status on a sync group.</a:t>
          </a:r>
          <a:endParaRPr lang="nl-BE" sz="2000" kern="1200" dirty="0"/>
        </a:p>
        <a:p>
          <a:pPr marL="228600" lvl="1" indent="-228600" algn="l" defTabSz="889000">
            <a:lnSpc>
              <a:spcPct val="90000"/>
            </a:lnSpc>
            <a:spcBef>
              <a:spcPct val="0"/>
            </a:spcBef>
            <a:spcAft>
              <a:spcPct val="15000"/>
            </a:spcAft>
            <a:buChar char="•"/>
          </a:pPr>
          <a:r>
            <a:rPr lang="es-ES" sz="2000" kern="1200"/>
            <a:t>Avoid deprovisioning issues; </a:t>
          </a:r>
          <a:r>
            <a:rPr lang="en-US" sz="2000" kern="1200"/>
            <a:t>unregistering a database might cause sync to fail.</a:t>
          </a:r>
          <a:endParaRPr lang="nl-BE" sz="2000" kern="1200" dirty="0"/>
        </a:p>
        <a:p>
          <a:pPr marL="228600" lvl="1" indent="-228600" algn="l" defTabSz="889000">
            <a:lnSpc>
              <a:spcPct val="90000"/>
            </a:lnSpc>
            <a:spcBef>
              <a:spcPct val="0"/>
            </a:spcBef>
            <a:spcAft>
              <a:spcPct val="15000"/>
            </a:spcAft>
            <a:buChar char="•"/>
          </a:pPr>
          <a:r>
            <a:rPr lang="en-US" sz="2000" kern="1200"/>
            <a:t>Modifying a sync group is a step-by-step process, don't attempt to remove a database from a sync group and then edit the sync group in one action.</a:t>
          </a:r>
          <a:endParaRPr lang="nl-BE" sz="2000" kern="1200" dirty="0"/>
        </a:p>
      </dsp:txBody>
      <dsp:txXfrm>
        <a:off x="0" y="2632465"/>
        <a:ext cx="10880726" cy="2268000"/>
      </dsp:txXfrm>
    </dsp:sp>
    <dsp:sp modelId="{200385FF-DD40-43F6-B5BC-B1DAACE8E92B}">
      <dsp:nvSpPr>
        <dsp:cNvPr id="0" name=""/>
        <dsp:cNvSpPr/>
      </dsp:nvSpPr>
      <dsp:spPr>
        <a:xfrm>
          <a:off x="544036" y="2337265"/>
          <a:ext cx="7616508" cy="59040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a:t>Maintenance</a:t>
          </a:r>
          <a:endParaRPr lang="nl-BE" sz="2000" kern="1200" dirty="0"/>
        </a:p>
      </dsp:txBody>
      <dsp:txXfrm>
        <a:off x="544036" y="2337265"/>
        <a:ext cx="7616508" cy="5904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D39C-7C00-4474-8F50-6B6A0F4C0F20}">
      <dsp:nvSpPr>
        <dsp:cNvPr id="0" name=""/>
        <dsp:cNvSpPr/>
      </dsp:nvSpPr>
      <dsp:spPr>
        <a:xfrm>
          <a:off x="0" y="338685"/>
          <a:ext cx="10880725" cy="1628549"/>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58216"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latin typeface="Segoe UI Light" pitchFamily="34" charset="0"/>
              <a:ea typeface="+mn-ea"/>
              <a:cs typeface="+mn-cs"/>
            </a:rPr>
            <a:t>A PowerShell runbook to feed SQL Data Sync log data to Azure Monitor logs.</a:t>
          </a:r>
        </a:p>
        <a:p>
          <a:pPr marL="228600" lvl="1" indent="-228600" algn="l" defTabSz="889000">
            <a:lnSpc>
              <a:spcPct val="90000"/>
            </a:lnSpc>
            <a:spcBef>
              <a:spcPct val="0"/>
            </a:spcBef>
            <a:spcAft>
              <a:spcPct val="15000"/>
            </a:spcAft>
            <a:buChar char="•"/>
          </a:pPr>
          <a:r>
            <a:rPr lang="en-US" sz="2000" kern="1200" dirty="0">
              <a:latin typeface="Segoe UI Light" pitchFamily="34" charset="0"/>
              <a:ea typeface="+mn-ea"/>
              <a:cs typeface="+mn-cs"/>
            </a:rPr>
            <a:t>An Azure Monitor alert for email notifications.</a:t>
          </a:r>
        </a:p>
        <a:p>
          <a:pPr marL="228600" lvl="1" indent="-228600" algn="l" defTabSz="889000">
            <a:lnSpc>
              <a:spcPct val="90000"/>
            </a:lnSpc>
            <a:spcBef>
              <a:spcPct val="0"/>
            </a:spcBef>
            <a:spcAft>
              <a:spcPct val="15000"/>
            </a:spcAft>
            <a:buChar char="•"/>
          </a:pPr>
          <a:r>
            <a:rPr lang="en-US" sz="2000" kern="1200" dirty="0">
              <a:latin typeface="Segoe UI Light" pitchFamily="34" charset="0"/>
              <a:ea typeface="+mn-ea"/>
              <a:cs typeface="+mn-cs"/>
            </a:rPr>
            <a:t>An Azure Monitor View for monitoring.</a:t>
          </a:r>
          <a:endParaRPr lang="es-ES" sz="2000" kern="1200" dirty="0">
            <a:latin typeface="Segoe UI"/>
            <a:ea typeface="+mn-ea"/>
            <a:cs typeface="+mn-cs"/>
          </a:endParaRPr>
        </a:p>
      </dsp:txBody>
      <dsp:txXfrm>
        <a:off x="0" y="338685"/>
        <a:ext cx="10880725" cy="1628549"/>
      </dsp:txXfrm>
    </dsp:sp>
    <dsp:sp modelId="{4BF9615A-9CFF-4E9A-AD3E-96B7E38500E3}">
      <dsp:nvSpPr>
        <dsp:cNvPr id="0" name=""/>
        <dsp:cNvSpPr/>
      </dsp:nvSpPr>
      <dsp:spPr>
        <a:xfrm>
          <a:off x="544036" y="13964"/>
          <a:ext cx="7616507" cy="64944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Segoe UI"/>
              <a:ea typeface="+mn-ea"/>
              <a:cs typeface="+mn-cs"/>
            </a:rPr>
            <a:t>You need to configure three components:</a:t>
          </a:r>
          <a:endParaRPr lang="es-ES" sz="2400" kern="1200" dirty="0">
            <a:latin typeface="Segoe UI"/>
            <a:ea typeface="+mn-ea"/>
            <a:cs typeface="+mn-cs"/>
          </a:endParaRPr>
        </a:p>
      </dsp:txBody>
      <dsp:txXfrm>
        <a:off x="544036" y="13964"/>
        <a:ext cx="7616507" cy="649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B9F88-FAF6-43DA-B07B-703FCF951041}">
      <dsp:nvSpPr>
        <dsp:cNvPr id="0" name=""/>
        <dsp:cNvSpPr/>
      </dsp:nvSpPr>
      <dsp:spPr>
        <a:xfrm>
          <a:off x="561369" y="4881"/>
          <a:ext cx="3022222" cy="755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Open Data Migration Assistant (DMA).</a:t>
          </a:r>
          <a:endParaRPr lang="en-US" sz="1600" kern="1200" dirty="0"/>
        </a:p>
      </dsp:txBody>
      <dsp:txXfrm>
        <a:off x="583498" y="27010"/>
        <a:ext cx="2977964" cy="711297"/>
      </dsp:txXfrm>
    </dsp:sp>
    <dsp:sp modelId="{D80754B1-9CF4-4D89-9AA5-5DF67AA7BBE7}">
      <dsp:nvSpPr>
        <dsp:cNvPr id="0" name=""/>
        <dsp:cNvSpPr/>
      </dsp:nvSpPr>
      <dsp:spPr>
        <a:xfrm rot="5400000">
          <a:off x="1975720" y="773338"/>
          <a:ext cx="193520" cy="232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2002813" y="792690"/>
        <a:ext cx="139334" cy="135464"/>
      </dsp:txXfrm>
    </dsp:sp>
    <dsp:sp modelId="{1C113716-E5D2-4A98-BB55-5DFDC3452CCB}">
      <dsp:nvSpPr>
        <dsp:cNvPr id="0" name=""/>
        <dsp:cNvSpPr/>
      </dsp:nvSpPr>
      <dsp:spPr>
        <a:xfrm>
          <a:off x="561369" y="1018464"/>
          <a:ext cx="3022222" cy="755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Create a new Assessment Project with Azure SQL Database Target.</a:t>
          </a:r>
          <a:endParaRPr lang="en-US" sz="1600" kern="1200"/>
        </a:p>
      </dsp:txBody>
      <dsp:txXfrm>
        <a:off x="583498" y="1040593"/>
        <a:ext cx="2977964" cy="711297"/>
      </dsp:txXfrm>
    </dsp:sp>
    <dsp:sp modelId="{D1D44A2E-726E-4423-BEA8-1352DAAB9B52}">
      <dsp:nvSpPr>
        <dsp:cNvPr id="0" name=""/>
        <dsp:cNvSpPr/>
      </dsp:nvSpPr>
      <dsp:spPr>
        <a:xfrm rot="5400000">
          <a:off x="1975720" y="1786921"/>
          <a:ext cx="193520" cy="232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2002813" y="1806273"/>
        <a:ext cx="139334" cy="135464"/>
      </dsp:txXfrm>
    </dsp:sp>
    <dsp:sp modelId="{FB840EE5-68ED-4928-9866-5C2B47380D7C}">
      <dsp:nvSpPr>
        <dsp:cNvPr id="0" name=""/>
        <dsp:cNvSpPr/>
      </dsp:nvSpPr>
      <dsp:spPr>
        <a:xfrm>
          <a:off x="561369" y="2032047"/>
          <a:ext cx="3022222" cy="755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Connect to local instance.</a:t>
          </a:r>
          <a:endParaRPr lang="en-US" sz="1600" kern="1200"/>
        </a:p>
      </dsp:txBody>
      <dsp:txXfrm>
        <a:off x="583498" y="2054176"/>
        <a:ext cx="2977964" cy="711297"/>
      </dsp:txXfrm>
    </dsp:sp>
    <dsp:sp modelId="{982CFDC5-92FE-4C64-921E-CC7314346722}">
      <dsp:nvSpPr>
        <dsp:cNvPr id="0" name=""/>
        <dsp:cNvSpPr/>
      </dsp:nvSpPr>
      <dsp:spPr>
        <a:xfrm rot="5400000">
          <a:off x="1975720" y="2800504"/>
          <a:ext cx="193520" cy="232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2002813" y="2819856"/>
        <a:ext cx="139334" cy="135464"/>
      </dsp:txXfrm>
    </dsp:sp>
    <dsp:sp modelId="{0618027A-B3FA-4552-A16E-92BBC2915934}">
      <dsp:nvSpPr>
        <dsp:cNvPr id="0" name=""/>
        <dsp:cNvSpPr/>
      </dsp:nvSpPr>
      <dsp:spPr>
        <a:xfrm>
          <a:off x="561369" y="3045630"/>
          <a:ext cx="3022222" cy="755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Select the source database(s).</a:t>
          </a:r>
          <a:endParaRPr lang="en-US" sz="1600" kern="1200"/>
        </a:p>
      </dsp:txBody>
      <dsp:txXfrm>
        <a:off x="583498" y="3067759"/>
        <a:ext cx="2977964" cy="711297"/>
      </dsp:txXfrm>
    </dsp:sp>
    <dsp:sp modelId="{09CAE085-0AD0-4E9F-A3A1-073539319FBC}">
      <dsp:nvSpPr>
        <dsp:cNvPr id="0" name=""/>
        <dsp:cNvSpPr/>
      </dsp:nvSpPr>
      <dsp:spPr>
        <a:xfrm rot="5400000">
          <a:off x="1975720" y="3814087"/>
          <a:ext cx="193520" cy="232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2002813" y="3833439"/>
        <a:ext cx="139334" cy="135464"/>
      </dsp:txXfrm>
    </dsp:sp>
    <dsp:sp modelId="{2E0E6E5D-5867-48D4-9C6E-F19A943E0B61}">
      <dsp:nvSpPr>
        <dsp:cNvPr id="0" name=""/>
        <dsp:cNvSpPr/>
      </dsp:nvSpPr>
      <dsp:spPr>
        <a:xfrm>
          <a:off x="561369" y="4059213"/>
          <a:ext cx="3022222" cy="755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Verify Compatibility Report.</a:t>
          </a:r>
          <a:endParaRPr lang="en-US" sz="1600" kern="1200"/>
        </a:p>
      </dsp:txBody>
      <dsp:txXfrm>
        <a:off x="583498" y="4081342"/>
        <a:ext cx="2977964" cy="71129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BB5002-6139-413C-A65A-0562D0346536}">
      <dsp:nvSpPr>
        <dsp:cNvPr id="0" name=""/>
        <dsp:cNvSpPr/>
      </dsp:nvSpPr>
      <dsp:spPr>
        <a:xfrm>
          <a:off x="0" y="721424"/>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Sync to other databases.</a:t>
          </a:r>
          <a:endParaRPr lang="en-US" sz="2000" kern="1200"/>
        </a:p>
      </dsp:txBody>
      <dsp:txXfrm>
        <a:off x="25130" y="746554"/>
        <a:ext cx="4932902" cy="464540"/>
      </dsp:txXfrm>
    </dsp:sp>
    <dsp:sp modelId="{0452EC8B-B423-4912-B67D-E9B1FF4CF88D}">
      <dsp:nvSpPr>
        <dsp:cNvPr id="0" name=""/>
        <dsp:cNvSpPr/>
      </dsp:nvSpPr>
      <dsp:spPr>
        <a:xfrm>
          <a:off x="0" y="1293825"/>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Create new Sync Group.</a:t>
          </a:r>
          <a:endParaRPr lang="en-US" sz="2000" kern="1200" dirty="0"/>
        </a:p>
      </dsp:txBody>
      <dsp:txXfrm>
        <a:off x="25130" y="1318955"/>
        <a:ext cx="4932902" cy="464540"/>
      </dsp:txXfrm>
    </dsp:sp>
    <dsp:sp modelId="{7FF97CFF-E09C-4C15-B58A-4B7EC7B7CE97}">
      <dsp:nvSpPr>
        <dsp:cNvPr id="0" name=""/>
        <dsp:cNvSpPr/>
      </dsp:nvSpPr>
      <dsp:spPr>
        <a:xfrm>
          <a:off x="0" y="1866225"/>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Specify Data Sync Group Name.</a:t>
          </a:r>
          <a:endParaRPr lang="en-US" sz="2000" kern="1200"/>
        </a:p>
      </dsp:txBody>
      <dsp:txXfrm>
        <a:off x="25130" y="1891355"/>
        <a:ext cx="4932902" cy="464540"/>
      </dsp:txXfrm>
    </dsp:sp>
    <dsp:sp modelId="{1A39EFB9-52A8-4224-BF0A-CF2D0C567F21}">
      <dsp:nvSpPr>
        <dsp:cNvPr id="0" name=""/>
        <dsp:cNvSpPr/>
      </dsp:nvSpPr>
      <dsp:spPr>
        <a:xfrm>
          <a:off x="0" y="2438625"/>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reate New Sync Metadata DB.</a:t>
          </a:r>
          <a:endParaRPr lang="en-US" sz="2000" kern="1200"/>
        </a:p>
      </dsp:txBody>
      <dsp:txXfrm>
        <a:off x="25130" y="2463755"/>
        <a:ext cx="4932902" cy="464540"/>
      </dsp:txXfrm>
    </dsp:sp>
    <dsp:sp modelId="{B8E95EC4-2E39-45A4-8803-F934EF499E23}">
      <dsp:nvSpPr>
        <dsp:cNvPr id="0" name=""/>
        <dsp:cNvSpPr/>
      </dsp:nvSpPr>
      <dsp:spPr>
        <a:xfrm>
          <a:off x="0" y="3011025"/>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Enable Automatic Sync &amp; Sync Frequency.</a:t>
          </a:r>
          <a:endParaRPr lang="en-US" sz="2000" kern="1200"/>
        </a:p>
      </dsp:txBody>
      <dsp:txXfrm>
        <a:off x="25130" y="3036155"/>
        <a:ext cx="4932902" cy="464540"/>
      </dsp:txXfrm>
    </dsp:sp>
    <dsp:sp modelId="{67DBCD27-2FAA-41D9-ABE0-35A9ED854A8A}">
      <dsp:nvSpPr>
        <dsp:cNvPr id="0" name=""/>
        <dsp:cNvSpPr/>
      </dsp:nvSpPr>
      <dsp:spPr>
        <a:xfrm>
          <a:off x="0" y="3583425"/>
          <a:ext cx="4983162" cy="514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Select Conflict Resolution.</a:t>
          </a:r>
          <a:endParaRPr lang="en-US" sz="2000" kern="1200"/>
        </a:p>
      </dsp:txBody>
      <dsp:txXfrm>
        <a:off x="25130" y="3608555"/>
        <a:ext cx="4932902" cy="46454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76B76-1B71-49D2-93DF-AB36F7681FAA}">
      <dsp:nvSpPr>
        <dsp:cNvPr id="0" name=""/>
        <dsp:cNvSpPr/>
      </dsp:nvSpPr>
      <dsp:spPr>
        <a:xfrm>
          <a:off x="0" y="637004"/>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Enter the existing credentials. </a:t>
          </a:r>
          <a:endParaRPr lang="en-US" sz="2100" kern="1200" dirty="0"/>
        </a:p>
      </dsp:txBody>
      <dsp:txXfrm>
        <a:off x="26387" y="663391"/>
        <a:ext cx="5387587" cy="487766"/>
      </dsp:txXfrm>
    </dsp:sp>
    <dsp:sp modelId="{0AAC9DE6-4858-41E1-B8A5-EF02752B5EED}">
      <dsp:nvSpPr>
        <dsp:cNvPr id="0" name=""/>
        <dsp:cNvSpPr/>
      </dsp:nvSpPr>
      <dsp:spPr>
        <a:xfrm>
          <a:off x="0" y="1238024"/>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pecify the name for the new sync member.</a:t>
          </a:r>
          <a:endParaRPr lang="en-US" sz="2100" kern="1200"/>
        </a:p>
      </dsp:txBody>
      <dsp:txXfrm>
        <a:off x="26387" y="1264411"/>
        <a:ext cx="5387587" cy="487766"/>
      </dsp:txXfrm>
    </dsp:sp>
    <dsp:sp modelId="{CF6B6E1B-2A4F-4B51-BFC7-F9CCB87E30AE}">
      <dsp:nvSpPr>
        <dsp:cNvPr id="0" name=""/>
        <dsp:cNvSpPr/>
      </dsp:nvSpPr>
      <dsp:spPr>
        <a:xfrm>
          <a:off x="0" y="1839044"/>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elect the Subscription.</a:t>
          </a:r>
          <a:endParaRPr lang="en-US" sz="2100" kern="1200"/>
        </a:p>
      </dsp:txBody>
      <dsp:txXfrm>
        <a:off x="26387" y="1865431"/>
        <a:ext cx="5387587" cy="487766"/>
      </dsp:txXfrm>
    </dsp:sp>
    <dsp:sp modelId="{15F90CE9-07BD-429A-AF1A-CC217EC44D70}">
      <dsp:nvSpPr>
        <dsp:cNvPr id="0" name=""/>
        <dsp:cNvSpPr/>
      </dsp:nvSpPr>
      <dsp:spPr>
        <a:xfrm>
          <a:off x="0" y="2440065"/>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elect the existing SQL database server.</a:t>
          </a:r>
          <a:endParaRPr lang="en-US" sz="2100" kern="1200"/>
        </a:p>
      </dsp:txBody>
      <dsp:txXfrm>
        <a:off x="26387" y="2466452"/>
        <a:ext cx="5387587" cy="487766"/>
      </dsp:txXfrm>
    </dsp:sp>
    <dsp:sp modelId="{BB7B1D7A-C4E5-4DED-845A-51DED6E0A20B}">
      <dsp:nvSpPr>
        <dsp:cNvPr id="0" name=""/>
        <dsp:cNvSpPr/>
      </dsp:nvSpPr>
      <dsp:spPr>
        <a:xfrm>
          <a:off x="0" y="3041084"/>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elect the existing SQL database.</a:t>
          </a:r>
          <a:endParaRPr lang="en-US" sz="2100" kern="1200"/>
        </a:p>
      </dsp:txBody>
      <dsp:txXfrm>
        <a:off x="26387" y="3067471"/>
        <a:ext cx="5387587" cy="487766"/>
      </dsp:txXfrm>
    </dsp:sp>
    <dsp:sp modelId="{7503DCC2-4CCE-458A-A775-77525FEE6BDF}">
      <dsp:nvSpPr>
        <dsp:cNvPr id="0" name=""/>
        <dsp:cNvSpPr/>
      </dsp:nvSpPr>
      <dsp:spPr>
        <a:xfrm>
          <a:off x="0" y="3642105"/>
          <a:ext cx="5440361"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pecify the Sync Directions.</a:t>
          </a:r>
          <a:endParaRPr lang="en-US" sz="2100" kern="1200"/>
        </a:p>
      </dsp:txBody>
      <dsp:txXfrm>
        <a:off x="26387" y="3668492"/>
        <a:ext cx="5387587" cy="48776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6CD89-D669-4F77-A0C4-3C51C2856D98}">
      <dsp:nvSpPr>
        <dsp:cNvPr id="0" name=""/>
        <dsp:cNvSpPr/>
      </dsp:nvSpPr>
      <dsp:spPr>
        <a:xfrm>
          <a:off x="0" y="50691"/>
          <a:ext cx="5440361" cy="89526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Choose the Sync Agent Gateway.</a:t>
          </a:r>
          <a:endParaRPr lang="en-US" sz="2100" kern="1200"/>
        </a:p>
      </dsp:txBody>
      <dsp:txXfrm>
        <a:off x="43703" y="94394"/>
        <a:ext cx="5352955" cy="807863"/>
      </dsp:txXfrm>
    </dsp:sp>
    <dsp:sp modelId="{7BB8495A-FC38-40B0-ACCD-1F8431D3736A}">
      <dsp:nvSpPr>
        <dsp:cNvPr id="0" name=""/>
        <dsp:cNvSpPr/>
      </dsp:nvSpPr>
      <dsp:spPr>
        <a:xfrm>
          <a:off x="0" y="1006440"/>
          <a:ext cx="5440361" cy="89526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Download the Client Sync Agent &amp; install on the SQL Server.</a:t>
          </a:r>
          <a:endParaRPr lang="en-US" sz="2100" kern="1200" dirty="0"/>
        </a:p>
      </dsp:txBody>
      <dsp:txXfrm>
        <a:off x="43703" y="1050143"/>
        <a:ext cx="5352955" cy="807863"/>
      </dsp:txXfrm>
    </dsp:sp>
    <dsp:sp modelId="{2A6F4800-6C5E-4E22-BBC1-CB979BC8F3FD}">
      <dsp:nvSpPr>
        <dsp:cNvPr id="0" name=""/>
        <dsp:cNvSpPr/>
      </dsp:nvSpPr>
      <dsp:spPr>
        <a:xfrm>
          <a:off x="0" y="1962190"/>
          <a:ext cx="5440361" cy="89526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Enter a name for the Agent.</a:t>
          </a:r>
          <a:endParaRPr lang="en-US" sz="2100" kern="1200"/>
        </a:p>
      </dsp:txBody>
      <dsp:txXfrm>
        <a:off x="43703" y="2005893"/>
        <a:ext cx="5352955" cy="807863"/>
      </dsp:txXfrm>
    </dsp:sp>
    <dsp:sp modelId="{30EE637C-7067-4544-A430-3DCF3FB49AF1}">
      <dsp:nvSpPr>
        <dsp:cNvPr id="0" name=""/>
        <dsp:cNvSpPr/>
      </dsp:nvSpPr>
      <dsp:spPr>
        <a:xfrm>
          <a:off x="0" y="2917939"/>
          <a:ext cx="5440361" cy="89526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elect Create and Generate Key.</a:t>
          </a:r>
          <a:endParaRPr lang="en-US" sz="2100" kern="1200"/>
        </a:p>
      </dsp:txBody>
      <dsp:txXfrm>
        <a:off x="43703" y="2961642"/>
        <a:ext cx="5352955" cy="807863"/>
      </dsp:txXfrm>
    </dsp:sp>
    <dsp:sp modelId="{2A115517-8183-4BC1-98D9-AB34EB7C8A5F}">
      <dsp:nvSpPr>
        <dsp:cNvPr id="0" name=""/>
        <dsp:cNvSpPr/>
      </dsp:nvSpPr>
      <dsp:spPr>
        <a:xfrm>
          <a:off x="0" y="3873689"/>
          <a:ext cx="5440361" cy="89526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Copy the agent key to the clipboard.</a:t>
          </a:r>
          <a:endParaRPr lang="en-US" sz="2100" kern="1200"/>
        </a:p>
      </dsp:txBody>
      <dsp:txXfrm>
        <a:off x="43703" y="3917392"/>
        <a:ext cx="5352955" cy="807863"/>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34299-8FC7-45CE-9E5E-51C8A87654C5}">
      <dsp:nvSpPr>
        <dsp:cNvPr id="0" name=""/>
        <dsp:cNvSpPr/>
      </dsp:nvSpPr>
      <dsp:spPr>
        <a:xfrm>
          <a:off x="0" y="248294"/>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Launch Client Sync Agent app.</a:t>
          </a:r>
          <a:endParaRPr lang="en-US" sz="1600" kern="1200"/>
        </a:p>
      </dsp:txBody>
      <dsp:txXfrm>
        <a:off x="33298" y="281592"/>
        <a:ext cx="4249638" cy="615514"/>
      </dsp:txXfrm>
    </dsp:sp>
    <dsp:sp modelId="{33608BBB-2961-44AB-B75C-0CB2FEA9AE59}">
      <dsp:nvSpPr>
        <dsp:cNvPr id="0" name=""/>
        <dsp:cNvSpPr/>
      </dsp:nvSpPr>
      <dsp:spPr>
        <a:xfrm>
          <a:off x="0" y="976484"/>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Submit Agent Key.</a:t>
          </a:r>
          <a:endParaRPr lang="en-US" sz="1600" kern="1200"/>
        </a:p>
      </dsp:txBody>
      <dsp:txXfrm>
        <a:off x="33298" y="1009782"/>
        <a:ext cx="4249638" cy="615514"/>
      </dsp:txXfrm>
    </dsp:sp>
    <dsp:sp modelId="{70C8FB59-E95E-4E01-AD1E-3B0A62CD8B47}">
      <dsp:nvSpPr>
        <dsp:cNvPr id="0" name=""/>
        <dsp:cNvSpPr/>
      </dsp:nvSpPr>
      <dsp:spPr>
        <a:xfrm>
          <a:off x="0" y="1704674"/>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Paste the agent Key.</a:t>
          </a:r>
          <a:endParaRPr lang="en-US" sz="1600" kern="1200"/>
        </a:p>
      </dsp:txBody>
      <dsp:txXfrm>
        <a:off x="33298" y="1737972"/>
        <a:ext cx="4249638" cy="615514"/>
      </dsp:txXfrm>
    </dsp:sp>
    <dsp:sp modelId="{75100B2C-E764-4308-B9EB-4D9C2DBD4578}">
      <dsp:nvSpPr>
        <dsp:cNvPr id="0" name=""/>
        <dsp:cNvSpPr/>
      </dsp:nvSpPr>
      <dsp:spPr>
        <a:xfrm>
          <a:off x="0" y="2432864"/>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Provide credentials for the metadata database.</a:t>
          </a:r>
          <a:endParaRPr lang="en-US" sz="1600" kern="1200"/>
        </a:p>
      </dsp:txBody>
      <dsp:txXfrm>
        <a:off x="33298" y="2466162"/>
        <a:ext cx="4249638" cy="615514"/>
      </dsp:txXfrm>
    </dsp:sp>
    <dsp:sp modelId="{A1988505-8ED0-44BB-960D-E93D0DFA1248}">
      <dsp:nvSpPr>
        <dsp:cNvPr id="0" name=""/>
        <dsp:cNvSpPr/>
      </dsp:nvSpPr>
      <dsp:spPr>
        <a:xfrm>
          <a:off x="0" y="3161055"/>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Click Register to register a SQL Server database with the agent.</a:t>
          </a:r>
          <a:endParaRPr lang="en-US" sz="1600" kern="1200"/>
        </a:p>
      </dsp:txBody>
      <dsp:txXfrm>
        <a:off x="33298" y="3194353"/>
        <a:ext cx="4249638" cy="615514"/>
      </dsp:txXfrm>
    </dsp:sp>
    <dsp:sp modelId="{19A6EEA0-80D3-442C-9D2D-88CCB3F54294}">
      <dsp:nvSpPr>
        <dsp:cNvPr id="0" name=""/>
        <dsp:cNvSpPr/>
      </dsp:nvSpPr>
      <dsp:spPr>
        <a:xfrm>
          <a:off x="0" y="3889245"/>
          <a:ext cx="4316234" cy="6821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Provide the SQL Server name and the name of the database that you want to sync.</a:t>
          </a:r>
          <a:endParaRPr lang="en-US" sz="1600" kern="1200"/>
        </a:p>
      </dsp:txBody>
      <dsp:txXfrm>
        <a:off x="33298" y="3922543"/>
        <a:ext cx="4249638" cy="61551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C99F26-B96C-4A14-AB5A-37CF965A5C6C}">
      <dsp:nvSpPr>
        <dsp:cNvPr id="0" name=""/>
        <dsp:cNvSpPr/>
      </dsp:nvSpPr>
      <dsp:spPr>
        <a:xfrm>
          <a:off x="0" y="170231"/>
          <a:ext cx="3459162" cy="106579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Select the Database.</a:t>
          </a:r>
          <a:endParaRPr lang="en-US" sz="2500" kern="1200"/>
        </a:p>
      </dsp:txBody>
      <dsp:txXfrm>
        <a:off x="52028" y="222259"/>
        <a:ext cx="3355106" cy="961740"/>
      </dsp:txXfrm>
    </dsp:sp>
    <dsp:sp modelId="{EC0005C1-8F22-4D4F-940A-AE2BE6F11059}">
      <dsp:nvSpPr>
        <dsp:cNvPr id="0" name=""/>
        <dsp:cNvSpPr/>
      </dsp:nvSpPr>
      <dsp:spPr>
        <a:xfrm>
          <a:off x="0" y="1308028"/>
          <a:ext cx="3459162" cy="106579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Provide a name for the new sync member.</a:t>
          </a:r>
          <a:endParaRPr lang="en-US" sz="2500" kern="1200" dirty="0"/>
        </a:p>
      </dsp:txBody>
      <dsp:txXfrm>
        <a:off x="52028" y="1360056"/>
        <a:ext cx="3355106" cy="961740"/>
      </dsp:txXfrm>
    </dsp:sp>
    <dsp:sp modelId="{D5946851-9879-4060-B94A-0985DCD7898B}">
      <dsp:nvSpPr>
        <dsp:cNvPr id="0" name=""/>
        <dsp:cNvSpPr/>
      </dsp:nvSpPr>
      <dsp:spPr>
        <a:xfrm>
          <a:off x="0" y="2445825"/>
          <a:ext cx="3459162" cy="106579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Specify the on-premises agent.</a:t>
          </a:r>
          <a:endParaRPr lang="en-US" sz="2500" kern="1200"/>
        </a:p>
      </dsp:txBody>
      <dsp:txXfrm>
        <a:off x="52028" y="2497853"/>
        <a:ext cx="3355106" cy="961740"/>
      </dsp:txXfrm>
    </dsp:sp>
    <dsp:sp modelId="{F3933ED3-92CF-4D95-8920-7004DB62532D}">
      <dsp:nvSpPr>
        <dsp:cNvPr id="0" name=""/>
        <dsp:cNvSpPr/>
      </dsp:nvSpPr>
      <dsp:spPr>
        <a:xfrm>
          <a:off x="0" y="3583621"/>
          <a:ext cx="3459162" cy="106579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Specify the Sync Directions.</a:t>
          </a:r>
          <a:endParaRPr lang="en-US" sz="2500" kern="1200"/>
        </a:p>
      </dsp:txBody>
      <dsp:txXfrm>
        <a:off x="52028" y="3635649"/>
        <a:ext cx="3355106" cy="96174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860A5C-A967-4532-8C17-EE43933208A8}">
      <dsp:nvSpPr>
        <dsp:cNvPr id="0" name=""/>
        <dsp:cNvSpPr/>
      </dsp:nvSpPr>
      <dsp:spPr>
        <a:xfrm>
          <a:off x="0" y="7815"/>
          <a:ext cx="3840162" cy="15514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Select a member database &amp; Refresh Schema.</a:t>
          </a:r>
          <a:endParaRPr lang="en-US" sz="2600" kern="1200"/>
        </a:p>
      </dsp:txBody>
      <dsp:txXfrm>
        <a:off x="75734" y="83549"/>
        <a:ext cx="3688694" cy="1399952"/>
      </dsp:txXfrm>
    </dsp:sp>
    <dsp:sp modelId="{8BEC1294-290D-40EE-BC02-2C71CD3C6658}">
      <dsp:nvSpPr>
        <dsp:cNvPr id="0" name=""/>
        <dsp:cNvSpPr/>
      </dsp:nvSpPr>
      <dsp:spPr>
        <a:xfrm>
          <a:off x="0" y="1634115"/>
          <a:ext cx="3840162" cy="15514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Select the tables that you want to sync.</a:t>
          </a:r>
          <a:endParaRPr lang="en-US" sz="2600" kern="1200" dirty="0"/>
        </a:p>
      </dsp:txBody>
      <dsp:txXfrm>
        <a:off x="75734" y="1709849"/>
        <a:ext cx="3688694" cy="1399952"/>
      </dsp:txXfrm>
    </dsp:sp>
    <dsp:sp modelId="{788569F0-4CB7-444E-BBE4-6B6829661BF9}">
      <dsp:nvSpPr>
        <dsp:cNvPr id="0" name=""/>
        <dsp:cNvSpPr/>
      </dsp:nvSpPr>
      <dsp:spPr>
        <a:xfrm>
          <a:off x="0" y="3260415"/>
          <a:ext cx="3840162" cy="15514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lick Save.</a:t>
          </a:r>
          <a:endParaRPr lang="en-US" sz="2600" kern="1200"/>
        </a:p>
      </dsp:txBody>
      <dsp:txXfrm>
        <a:off x="75734" y="3336149"/>
        <a:ext cx="3688694" cy="1399952"/>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5888"/>
          <a:ext cx="10880725"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dirty="0"/>
            <a:t>Which databases are part of a Sync Group?</a:t>
          </a:r>
        </a:p>
      </dsp:txBody>
      <dsp:txXfrm>
        <a:off x="46491" y="162379"/>
        <a:ext cx="10787743" cy="859398"/>
      </dsp:txXfrm>
    </dsp:sp>
    <dsp:sp modelId="{E922B38C-D007-46D8-9A79-C8E951BC8385}">
      <dsp:nvSpPr>
        <dsp:cNvPr id="0" name=""/>
        <dsp:cNvSpPr/>
      </dsp:nvSpPr>
      <dsp:spPr>
        <a:xfrm>
          <a:off x="0" y="1174828"/>
          <a:ext cx="10880725" cy="9523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dirty="0"/>
            <a:t>Which options can you use to resolve Conflicts?</a:t>
          </a:r>
        </a:p>
      </dsp:txBody>
      <dsp:txXfrm>
        <a:off x="46491" y="1221319"/>
        <a:ext cx="10787743" cy="859398"/>
      </dsp:txXfrm>
    </dsp:sp>
    <dsp:sp modelId="{A1544A17-387D-417A-82E0-7180C151B86A}">
      <dsp:nvSpPr>
        <dsp:cNvPr id="0" name=""/>
        <dsp:cNvSpPr/>
      </dsp:nvSpPr>
      <dsp:spPr>
        <a:xfrm>
          <a:off x="0" y="2233768"/>
          <a:ext cx="10880725" cy="9523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t>What are the three main steps to setup Data Sync?</a:t>
          </a:r>
          <a:endParaRPr lang="en-US" sz="3700" kern="1200" dirty="0"/>
        </a:p>
      </dsp:txBody>
      <dsp:txXfrm>
        <a:off x="46491" y="2280259"/>
        <a:ext cx="10787743" cy="85939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73D8FE-C57C-4F85-B157-2B3DD75AC580}">
      <dsp:nvSpPr>
        <dsp:cNvPr id="0" name=""/>
        <dsp:cNvSpPr/>
      </dsp:nvSpPr>
      <dsp:spPr>
        <a:xfrm>
          <a:off x="781662" y="2184"/>
          <a:ext cx="2151213" cy="129072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Migration steps</a:t>
          </a:r>
        </a:p>
      </dsp:txBody>
      <dsp:txXfrm>
        <a:off x="819466" y="39988"/>
        <a:ext cx="2075605" cy="1215120"/>
      </dsp:txXfrm>
    </dsp:sp>
    <dsp:sp modelId="{F3C025D7-2943-4A7C-BB05-603EE4EDEF39}">
      <dsp:nvSpPr>
        <dsp:cNvPr id="0" name=""/>
        <dsp:cNvSpPr/>
      </dsp:nvSpPr>
      <dsp:spPr>
        <a:xfrm>
          <a:off x="3122182" y="380798"/>
          <a:ext cx="456057" cy="533500"/>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122182" y="487498"/>
        <a:ext cx="319240" cy="320100"/>
      </dsp:txXfrm>
    </dsp:sp>
    <dsp:sp modelId="{F85B7ED1-D915-49DF-8BE7-ECED0BAF6A3A}">
      <dsp:nvSpPr>
        <dsp:cNvPr id="0" name=""/>
        <dsp:cNvSpPr/>
      </dsp:nvSpPr>
      <dsp:spPr>
        <a:xfrm>
          <a:off x="3793361" y="2184"/>
          <a:ext cx="2151213" cy="129072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Verify your Database for Compatibility Issues</a:t>
          </a:r>
        </a:p>
      </dsp:txBody>
      <dsp:txXfrm>
        <a:off x="3831165" y="39988"/>
        <a:ext cx="2075605" cy="1215120"/>
      </dsp:txXfrm>
    </dsp:sp>
    <dsp:sp modelId="{AA829AE2-3BC8-401A-977F-8D2A5039734F}">
      <dsp:nvSpPr>
        <dsp:cNvPr id="0" name=""/>
        <dsp:cNvSpPr/>
      </dsp:nvSpPr>
      <dsp:spPr>
        <a:xfrm rot="5400000">
          <a:off x="4640939" y="1443497"/>
          <a:ext cx="456057" cy="533500"/>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4708918" y="1482219"/>
        <a:ext cx="320100" cy="319240"/>
      </dsp:txXfrm>
    </dsp:sp>
    <dsp:sp modelId="{7BDAB71C-E074-43E0-ADB6-AE1A937315D0}">
      <dsp:nvSpPr>
        <dsp:cNvPr id="0" name=""/>
        <dsp:cNvSpPr/>
      </dsp:nvSpPr>
      <dsp:spPr>
        <a:xfrm>
          <a:off x="3793361" y="2153398"/>
          <a:ext cx="2151213" cy="1290728"/>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ixing Compatibility Issues</a:t>
          </a:r>
        </a:p>
      </dsp:txBody>
      <dsp:txXfrm>
        <a:off x="3831165" y="2191202"/>
        <a:ext cx="2075605" cy="1215120"/>
      </dsp:txXfrm>
    </dsp:sp>
    <dsp:sp modelId="{5117DD99-E94A-45B4-A245-62024F6E5CFE}">
      <dsp:nvSpPr>
        <dsp:cNvPr id="0" name=""/>
        <dsp:cNvSpPr/>
      </dsp:nvSpPr>
      <dsp:spPr>
        <a:xfrm rot="10800000">
          <a:off x="3147997" y="2532012"/>
          <a:ext cx="456057" cy="533500"/>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3284814" y="2638712"/>
        <a:ext cx="319240" cy="320100"/>
      </dsp:txXfrm>
    </dsp:sp>
    <dsp:sp modelId="{68C77D06-B0D6-4EDC-9404-24BB61588442}">
      <dsp:nvSpPr>
        <dsp:cNvPr id="0" name=""/>
        <dsp:cNvSpPr/>
      </dsp:nvSpPr>
      <dsp:spPr>
        <a:xfrm>
          <a:off x="781662" y="2153398"/>
          <a:ext cx="2151213" cy="129072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Identify the right Azure SQL Database SKU</a:t>
          </a:r>
        </a:p>
      </dsp:txBody>
      <dsp:txXfrm>
        <a:off x="819466" y="2191202"/>
        <a:ext cx="2075605" cy="1215120"/>
      </dsp:txXfrm>
    </dsp:sp>
    <dsp:sp modelId="{84F7203B-C1BB-4860-9082-1E4C44955C48}">
      <dsp:nvSpPr>
        <dsp:cNvPr id="0" name=""/>
        <dsp:cNvSpPr/>
      </dsp:nvSpPr>
      <dsp:spPr>
        <a:xfrm rot="5400000">
          <a:off x="1629240" y="3594711"/>
          <a:ext cx="456057" cy="53350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1697219" y="3633433"/>
        <a:ext cx="320100" cy="319240"/>
      </dsp:txXfrm>
    </dsp:sp>
    <dsp:sp modelId="{D48E2FCE-D58B-47E5-B3D3-12B67B8328E3}">
      <dsp:nvSpPr>
        <dsp:cNvPr id="0" name=""/>
        <dsp:cNvSpPr/>
      </dsp:nvSpPr>
      <dsp:spPr>
        <a:xfrm>
          <a:off x="781662" y="4304611"/>
          <a:ext cx="2151213" cy="129072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Migration</a:t>
          </a:r>
        </a:p>
      </dsp:txBody>
      <dsp:txXfrm>
        <a:off x="819466" y="4342415"/>
        <a:ext cx="2075605" cy="1215120"/>
      </dsp:txXfrm>
    </dsp:sp>
    <dsp:sp modelId="{5553E100-619D-42B4-86CC-867B5C4DCCC1}">
      <dsp:nvSpPr>
        <dsp:cNvPr id="0" name=""/>
        <dsp:cNvSpPr/>
      </dsp:nvSpPr>
      <dsp:spPr>
        <a:xfrm>
          <a:off x="3122182" y="4683225"/>
          <a:ext cx="456057" cy="533500"/>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122182" y="4789925"/>
        <a:ext cx="319240" cy="320100"/>
      </dsp:txXfrm>
    </dsp:sp>
    <dsp:sp modelId="{F6F829BE-64A3-4E65-A9AD-7FAE0FF8E071}">
      <dsp:nvSpPr>
        <dsp:cNvPr id="0" name=""/>
        <dsp:cNvSpPr/>
      </dsp:nvSpPr>
      <dsp:spPr>
        <a:xfrm>
          <a:off x="3793361" y="4304611"/>
          <a:ext cx="2151213" cy="129072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Sync across multiple cloud and on-premises databases</a:t>
          </a:r>
        </a:p>
      </dsp:txBody>
      <dsp:txXfrm>
        <a:off x="3831165" y="4342415"/>
        <a:ext cx="2075605" cy="12151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C4BF69-7076-4A55-85C4-1F6B51EE0DA3}">
      <dsp:nvSpPr>
        <dsp:cNvPr id="0" name=""/>
        <dsp:cNvSpPr/>
      </dsp:nvSpPr>
      <dsp:spPr>
        <a:xfrm>
          <a:off x="0" y="325"/>
          <a:ext cx="10880723" cy="7780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a:ea typeface="+mn-ea"/>
              <a:cs typeface="+mn-cs"/>
            </a:rPr>
            <a:t>Compatibility issues must be fixed before proceeding with the SQL Server Database migration.</a:t>
          </a:r>
        </a:p>
      </dsp:txBody>
      <dsp:txXfrm>
        <a:off x="37981" y="38306"/>
        <a:ext cx="10804761" cy="702087"/>
      </dsp:txXfrm>
    </dsp:sp>
    <dsp:sp modelId="{EE5EF3CB-4750-4E82-8457-8228844FCD11}">
      <dsp:nvSpPr>
        <dsp:cNvPr id="0" name=""/>
        <dsp:cNvSpPr/>
      </dsp:nvSpPr>
      <dsp:spPr>
        <a:xfrm>
          <a:off x="0" y="879175"/>
          <a:ext cx="10880723" cy="7780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You can use DMA + Extended Events to evaluate any ad hoc or dynamic SQL queries or any DML statements initiated through the application data layer.</a:t>
          </a:r>
          <a:endParaRPr lang="en-US" sz="1800" kern="1200" dirty="0">
            <a:latin typeface="Segoe UI"/>
            <a:ea typeface="+mn-ea"/>
            <a:cs typeface="+mn-cs"/>
          </a:endParaRPr>
        </a:p>
      </dsp:txBody>
      <dsp:txXfrm>
        <a:off x="37981" y="917156"/>
        <a:ext cx="10804761" cy="702087"/>
      </dsp:txXfrm>
    </dsp:sp>
    <dsp:sp modelId="{EA195B0A-A0C6-4104-B3C4-5307CB6879C2}">
      <dsp:nvSpPr>
        <dsp:cNvPr id="0" name=""/>
        <dsp:cNvSpPr/>
      </dsp:nvSpPr>
      <dsp:spPr>
        <a:xfrm>
          <a:off x="0" y="1758025"/>
          <a:ext cx="10880723" cy="7780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A wide variety of compatibility issues.</a:t>
          </a:r>
          <a:endParaRPr lang="en-US" sz="1800" kern="1200" dirty="0">
            <a:latin typeface="Segoe UI"/>
            <a:ea typeface="+mn-ea"/>
            <a:cs typeface="+mn-cs"/>
          </a:endParaRPr>
        </a:p>
      </dsp:txBody>
      <dsp:txXfrm>
        <a:off x="37981" y="1796006"/>
        <a:ext cx="10804761" cy="702087"/>
      </dsp:txXfrm>
    </dsp:sp>
    <dsp:sp modelId="{96FF7710-E2BF-4AFA-B10E-3C617FCE2E44}">
      <dsp:nvSpPr>
        <dsp:cNvPr id="0" name=""/>
        <dsp:cNvSpPr/>
      </dsp:nvSpPr>
      <dsp:spPr>
        <a:xfrm>
          <a:off x="0" y="2636875"/>
          <a:ext cx="10880723" cy="7780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Use the following resources:</a:t>
          </a:r>
          <a:endParaRPr lang="en-US" sz="1800" kern="1200" dirty="0">
            <a:latin typeface="Segoe UI"/>
            <a:ea typeface="+mn-ea"/>
            <a:cs typeface="+mn-cs"/>
          </a:endParaRPr>
        </a:p>
      </dsp:txBody>
      <dsp:txXfrm>
        <a:off x="37981" y="2674856"/>
        <a:ext cx="10804761" cy="702087"/>
      </dsp:txXfrm>
    </dsp:sp>
    <dsp:sp modelId="{8DD7574B-1EE9-433F-AA79-C10AC115C3B4}">
      <dsp:nvSpPr>
        <dsp:cNvPr id="0" name=""/>
        <dsp:cNvSpPr/>
      </dsp:nvSpPr>
      <dsp:spPr>
        <a:xfrm>
          <a:off x="0" y="3414925"/>
          <a:ext cx="10880723" cy="181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17780" rIns="99568" bIns="17780" numCol="1" spcCol="1270" anchor="t" anchorCtr="0">
          <a:noAutofit/>
        </a:bodyPr>
        <a:lstStyle/>
        <a:p>
          <a:pPr marL="114300" lvl="1" indent="-114300" algn="l" defTabSz="622300">
            <a:lnSpc>
              <a:spcPct val="90000"/>
            </a:lnSpc>
            <a:spcBef>
              <a:spcPct val="0"/>
            </a:spcBef>
            <a:spcAft>
              <a:spcPct val="20000"/>
            </a:spcAft>
            <a:buFont typeface="Arial" pitchFamily="34" charset="0"/>
            <a:buChar char="•"/>
          </a:pPr>
          <a:r>
            <a:rPr lang="en-US" sz="1400" u="sng" kern="1200">
              <a:latin typeface="Segoe UI"/>
              <a:ea typeface="+mn-ea"/>
              <a:cs typeface="+mn-cs"/>
              <a:hlinkClick xmlns:r="http://schemas.openxmlformats.org/officeDocument/2006/relationships" r:id="rId1"/>
            </a:rPr>
            <a:t>SQL Server </a:t>
          </a:r>
          <a:r>
            <a:rPr lang="en-US" sz="1400" kern="1200">
              <a:latin typeface="Segoe UI"/>
              <a:ea typeface="+mn-ea"/>
              <a:cs typeface="+mn-cs"/>
              <a:hlinkClick xmlns:r="http://schemas.openxmlformats.org/officeDocument/2006/relationships" r:id="rId1"/>
            </a:rPr>
            <a:t>database features </a:t>
          </a:r>
          <a:r>
            <a:rPr lang="en-US" sz="1400" u="sng" kern="1200">
              <a:latin typeface="Segoe UI"/>
              <a:ea typeface="+mn-ea"/>
              <a:cs typeface="+mn-cs"/>
              <a:hlinkClick xmlns:r="http://schemas.openxmlformats.org/officeDocument/2006/relationships" r:id="rId1"/>
            </a:rPr>
            <a:t>not supported in Azure SQL Database</a:t>
          </a:r>
          <a:endParaRPr lang="en-US" sz="1400"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2"/>
            </a:rPr>
            <a:t>Discontinued Database Engine Functionality in SQL Server 2019</a:t>
          </a:r>
          <a:endParaRPr lang="en-US" sz="1400" u="sng"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3"/>
            </a:rPr>
            <a:t>Discontinued Database Engine Functionality in SQL Server 2017</a:t>
          </a:r>
          <a:endParaRPr lang="en-US" sz="1400" u="sng"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4"/>
            </a:rPr>
            <a:t>Discontinued Database Engine Functionality in SQL Server 2016</a:t>
          </a:r>
          <a:endParaRPr lang="en-US" sz="1400" u="sng"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5"/>
            </a:rPr>
            <a:t>Discontinued Database Engine Functionality in SQL Server 2014</a:t>
          </a:r>
          <a:endParaRPr lang="en-US" sz="1400" u="sng"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6"/>
            </a:rPr>
            <a:t>Discontinued Database Engine Functionality in SQL Server 2012</a:t>
          </a:r>
          <a:endParaRPr lang="en-US" sz="1400" u="sng" kern="1200" dirty="0">
            <a:latin typeface="Segoe UI"/>
            <a:ea typeface="+mn-ea"/>
            <a:cs typeface="+mn-cs"/>
          </a:endParaRPr>
        </a:p>
        <a:p>
          <a:pPr marL="114300" lvl="1" indent="-114300" algn="l" defTabSz="622300">
            <a:lnSpc>
              <a:spcPct val="90000"/>
            </a:lnSpc>
            <a:spcBef>
              <a:spcPct val="0"/>
            </a:spcBef>
            <a:spcAft>
              <a:spcPct val="20000"/>
            </a:spcAft>
            <a:buChar char="•"/>
          </a:pPr>
          <a:r>
            <a:rPr lang="en-US" sz="1400" u="sng" kern="1200">
              <a:latin typeface="Segoe UI"/>
              <a:ea typeface="+mn-ea"/>
              <a:cs typeface="+mn-cs"/>
              <a:hlinkClick xmlns:r="http://schemas.openxmlformats.org/officeDocument/2006/relationships" r:id="rId7"/>
            </a:rPr>
            <a:t>Discontinued Database Engine Functionality in SQL Server 2008 R2</a:t>
          </a:r>
          <a:endParaRPr lang="en-US" sz="1400" u="sng" kern="1200" dirty="0">
            <a:latin typeface="Segoe UI"/>
            <a:ea typeface="+mn-ea"/>
            <a:cs typeface="+mn-cs"/>
          </a:endParaRPr>
        </a:p>
      </dsp:txBody>
      <dsp:txXfrm>
        <a:off x="0" y="3414925"/>
        <a:ext cx="10880723" cy="18112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5087D2-09A2-46C3-9881-050C3583E085}">
      <dsp:nvSpPr>
        <dsp:cNvPr id="0" name=""/>
        <dsp:cNvSpPr/>
      </dsp:nvSpPr>
      <dsp:spPr>
        <a:xfrm>
          <a:off x="0" y="38791"/>
          <a:ext cx="4830762" cy="87710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a:t>Database Migration Assistant: (DMA) </a:t>
          </a:r>
          <a:endParaRPr lang="en-US" sz="2200" kern="1200"/>
        </a:p>
      </dsp:txBody>
      <dsp:txXfrm>
        <a:off x="0" y="38791"/>
        <a:ext cx="4830762" cy="877107"/>
      </dsp:txXfrm>
    </dsp:sp>
    <dsp:sp modelId="{D0ECE224-4FF1-4563-A68D-0FCEEBFC7CDC}">
      <dsp:nvSpPr>
        <dsp:cNvPr id="0" name=""/>
        <dsp:cNvSpPr/>
      </dsp:nvSpPr>
      <dsp:spPr>
        <a:xfrm>
          <a:off x="0" y="915898"/>
          <a:ext cx="4830762" cy="386496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Provides SKU recommendations in a user-friendly output based on performance counters collected from the computer(s) hosting your databases.</a:t>
          </a:r>
          <a:endParaRPr lang="en-US" sz="2200" kern="1200" dirty="0"/>
        </a:p>
        <a:p>
          <a:pPr marL="228600" lvl="1" indent="-228600" algn="l" defTabSz="977900">
            <a:lnSpc>
              <a:spcPct val="90000"/>
            </a:lnSpc>
            <a:spcBef>
              <a:spcPct val="0"/>
            </a:spcBef>
            <a:spcAft>
              <a:spcPct val="15000"/>
            </a:spcAft>
            <a:buChar char="•"/>
          </a:pPr>
          <a:r>
            <a:rPr lang="en-US" sz="2200" kern="1200" baseline="0" dirty="0"/>
            <a:t>It has several deployment options, including:</a:t>
          </a:r>
          <a:endParaRPr lang="en-US" sz="2200" kern="1200" dirty="0"/>
        </a:p>
        <a:p>
          <a:pPr marL="457200" lvl="2" indent="-228600" algn="l" defTabSz="977900">
            <a:lnSpc>
              <a:spcPct val="90000"/>
            </a:lnSpc>
            <a:spcBef>
              <a:spcPct val="0"/>
            </a:spcBef>
            <a:spcAft>
              <a:spcPct val="15000"/>
            </a:spcAft>
            <a:buChar char="•"/>
          </a:pPr>
          <a:r>
            <a:rPr lang="en-US" sz="2200" kern="1200" baseline="0"/>
            <a:t>Single database</a:t>
          </a:r>
          <a:endParaRPr lang="en-US" sz="2200" kern="1200"/>
        </a:p>
        <a:p>
          <a:pPr marL="457200" lvl="2" indent="-228600" algn="l" defTabSz="977900">
            <a:lnSpc>
              <a:spcPct val="90000"/>
            </a:lnSpc>
            <a:spcBef>
              <a:spcPct val="0"/>
            </a:spcBef>
            <a:spcAft>
              <a:spcPct val="15000"/>
            </a:spcAft>
            <a:buChar char="•"/>
          </a:pPr>
          <a:r>
            <a:rPr lang="en-US" sz="2200" kern="1200" baseline="0"/>
            <a:t>Elastic pools</a:t>
          </a:r>
          <a:endParaRPr lang="en-US" sz="2200" kern="1200"/>
        </a:p>
        <a:p>
          <a:pPr marL="457200" lvl="2" indent="-228600" algn="l" defTabSz="977900">
            <a:lnSpc>
              <a:spcPct val="90000"/>
            </a:lnSpc>
            <a:spcBef>
              <a:spcPct val="0"/>
            </a:spcBef>
            <a:spcAft>
              <a:spcPct val="15000"/>
            </a:spcAft>
            <a:buChar char="•"/>
          </a:pPr>
          <a:r>
            <a:rPr lang="en-US" sz="2200" kern="1200" baseline="0"/>
            <a:t>Managed instance</a:t>
          </a:r>
          <a:endParaRPr lang="en-US" sz="2200" kern="1200"/>
        </a:p>
      </dsp:txBody>
      <dsp:txXfrm>
        <a:off x="0" y="915898"/>
        <a:ext cx="4830762" cy="38649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583A91-EA65-49EF-9FBC-1A7D39AA642D}">
      <dsp:nvSpPr>
        <dsp:cNvPr id="0" name=""/>
        <dsp:cNvSpPr/>
      </dsp:nvSpPr>
      <dsp:spPr>
        <a:xfrm>
          <a:off x="0" y="47039"/>
          <a:ext cx="4830762" cy="87710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t>This feature provides recommendations related to:</a:t>
          </a:r>
          <a:endParaRPr lang="en-US" sz="2200" kern="1200" dirty="0"/>
        </a:p>
      </dsp:txBody>
      <dsp:txXfrm>
        <a:off x="0" y="47039"/>
        <a:ext cx="4830762" cy="877107"/>
      </dsp:txXfrm>
    </dsp:sp>
    <dsp:sp modelId="{EA2C901B-D538-4DDB-9614-5A4C9344B142}">
      <dsp:nvSpPr>
        <dsp:cNvPr id="0" name=""/>
        <dsp:cNvSpPr/>
      </dsp:nvSpPr>
      <dsp:spPr>
        <a:xfrm>
          <a:off x="0" y="924146"/>
          <a:ext cx="4830762" cy="18117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a:t>pricing tier</a:t>
          </a:r>
          <a:endParaRPr lang="en-US" sz="2200" kern="1200"/>
        </a:p>
        <a:p>
          <a:pPr marL="228600" lvl="1" indent="-228600" algn="l" defTabSz="977900">
            <a:lnSpc>
              <a:spcPct val="90000"/>
            </a:lnSpc>
            <a:spcBef>
              <a:spcPct val="0"/>
            </a:spcBef>
            <a:spcAft>
              <a:spcPct val="15000"/>
            </a:spcAft>
            <a:buChar char="•"/>
          </a:pPr>
          <a:r>
            <a:rPr lang="en-US" sz="2200" kern="1200" baseline="0"/>
            <a:t>compute level</a:t>
          </a:r>
          <a:endParaRPr lang="en-US" sz="2200" kern="1200"/>
        </a:p>
        <a:p>
          <a:pPr marL="228600" lvl="1" indent="-228600" algn="l" defTabSz="977900">
            <a:lnSpc>
              <a:spcPct val="90000"/>
            </a:lnSpc>
            <a:spcBef>
              <a:spcPct val="0"/>
            </a:spcBef>
            <a:spcAft>
              <a:spcPct val="15000"/>
            </a:spcAft>
            <a:buChar char="•"/>
          </a:pPr>
          <a:r>
            <a:rPr lang="en-US" sz="2200" kern="1200" baseline="0" dirty="0"/>
            <a:t>max data size</a:t>
          </a:r>
          <a:endParaRPr lang="en-US" sz="2200" kern="1200" dirty="0"/>
        </a:p>
        <a:p>
          <a:pPr marL="228600" lvl="1" indent="-228600" algn="l" defTabSz="977900">
            <a:lnSpc>
              <a:spcPct val="90000"/>
            </a:lnSpc>
            <a:spcBef>
              <a:spcPct val="0"/>
            </a:spcBef>
            <a:spcAft>
              <a:spcPct val="15000"/>
            </a:spcAft>
            <a:buChar char="•"/>
          </a:pPr>
          <a:r>
            <a:rPr lang="en-US" sz="2200" kern="1200" baseline="0" dirty="0"/>
            <a:t>estimated cost per month.</a:t>
          </a:r>
          <a:endParaRPr lang="en-US" sz="2200" kern="1200" dirty="0"/>
        </a:p>
      </dsp:txBody>
      <dsp:txXfrm>
        <a:off x="0" y="924146"/>
        <a:ext cx="4830762" cy="18117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FC1599-97B3-4C93-A87C-2C1D9B13C31D}">
      <dsp:nvSpPr>
        <dsp:cNvPr id="0" name=""/>
        <dsp:cNvSpPr/>
      </dsp:nvSpPr>
      <dsp:spPr>
        <a:xfrm>
          <a:off x="852694" y="4193"/>
          <a:ext cx="2548236" cy="6370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Create a new migration project.</a:t>
          </a:r>
          <a:endParaRPr lang="en-US" sz="1600" kern="1200"/>
        </a:p>
      </dsp:txBody>
      <dsp:txXfrm>
        <a:off x="871353" y="22852"/>
        <a:ext cx="2510918" cy="599741"/>
      </dsp:txXfrm>
    </dsp:sp>
    <dsp:sp modelId="{A2E947E4-16E3-4BF5-A301-22F66F6C939B}">
      <dsp:nvSpPr>
        <dsp:cNvPr id="0" name=""/>
        <dsp:cNvSpPr/>
      </dsp:nvSpPr>
      <dsp:spPr>
        <a:xfrm rot="5400000">
          <a:off x="2007363" y="596804"/>
          <a:ext cx="238897" cy="2866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040809" y="620694"/>
        <a:ext cx="172006" cy="167228"/>
      </dsp:txXfrm>
    </dsp:sp>
    <dsp:sp modelId="{9999363D-B905-4AAB-8F1B-F9BDB3D0ADEF}">
      <dsp:nvSpPr>
        <dsp:cNvPr id="0" name=""/>
        <dsp:cNvSpPr/>
      </dsp:nvSpPr>
      <dsp:spPr>
        <a:xfrm>
          <a:off x="852694" y="839034"/>
          <a:ext cx="2548236" cy="63705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Connect to the Source.</a:t>
          </a:r>
          <a:endParaRPr lang="en-US" sz="1600" kern="1200"/>
        </a:p>
      </dsp:txBody>
      <dsp:txXfrm>
        <a:off x="871353" y="857693"/>
        <a:ext cx="2510918" cy="599741"/>
      </dsp:txXfrm>
    </dsp:sp>
    <dsp:sp modelId="{719710F7-D049-4BA0-9EAC-51373ED600E9}">
      <dsp:nvSpPr>
        <dsp:cNvPr id="0" name=""/>
        <dsp:cNvSpPr/>
      </dsp:nvSpPr>
      <dsp:spPr>
        <a:xfrm rot="5400000">
          <a:off x="2007363" y="1431645"/>
          <a:ext cx="238897" cy="2866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040809" y="1455535"/>
        <a:ext cx="172006" cy="167228"/>
      </dsp:txXfrm>
    </dsp:sp>
    <dsp:sp modelId="{91387524-5115-467E-9AB4-B4F0B2211861}">
      <dsp:nvSpPr>
        <dsp:cNvPr id="0" name=""/>
        <dsp:cNvSpPr/>
      </dsp:nvSpPr>
      <dsp:spPr>
        <a:xfrm>
          <a:off x="852694" y="1673875"/>
          <a:ext cx="2548236" cy="63705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Select the Target.</a:t>
          </a:r>
          <a:endParaRPr lang="en-US" sz="1600" kern="1200"/>
        </a:p>
      </dsp:txBody>
      <dsp:txXfrm>
        <a:off x="871353" y="1692534"/>
        <a:ext cx="2510918" cy="599741"/>
      </dsp:txXfrm>
    </dsp:sp>
    <dsp:sp modelId="{FB4D19AC-FDFB-4BBC-87A6-E6C9BC38149D}">
      <dsp:nvSpPr>
        <dsp:cNvPr id="0" name=""/>
        <dsp:cNvSpPr/>
      </dsp:nvSpPr>
      <dsp:spPr>
        <a:xfrm rot="5400000">
          <a:off x="2007363" y="2266486"/>
          <a:ext cx="238897" cy="2866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040809" y="2290376"/>
        <a:ext cx="172006" cy="167228"/>
      </dsp:txXfrm>
    </dsp:sp>
    <dsp:sp modelId="{EFFA4675-13FE-41E8-AC80-BF1825BC5BF0}">
      <dsp:nvSpPr>
        <dsp:cNvPr id="0" name=""/>
        <dsp:cNvSpPr/>
      </dsp:nvSpPr>
      <dsp:spPr>
        <a:xfrm>
          <a:off x="852694" y="2508715"/>
          <a:ext cx="2548236" cy="63705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Select the objects &amp; users to migrate.</a:t>
          </a:r>
          <a:endParaRPr lang="en-US" sz="1600" kern="1200"/>
        </a:p>
      </dsp:txBody>
      <dsp:txXfrm>
        <a:off x="871353" y="2527374"/>
        <a:ext cx="2510918" cy="599741"/>
      </dsp:txXfrm>
    </dsp:sp>
    <dsp:sp modelId="{53F683D1-A395-4FD5-9A0A-77CAFC7DB973}">
      <dsp:nvSpPr>
        <dsp:cNvPr id="0" name=""/>
        <dsp:cNvSpPr/>
      </dsp:nvSpPr>
      <dsp:spPr>
        <a:xfrm rot="5400000">
          <a:off x="2007363" y="3101327"/>
          <a:ext cx="238897" cy="28667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040809" y="3125217"/>
        <a:ext cx="172006" cy="167228"/>
      </dsp:txXfrm>
    </dsp:sp>
    <dsp:sp modelId="{9006022D-A3E7-451C-9478-F0118D72B893}">
      <dsp:nvSpPr>
        <dsp:cNvPr id="0" name=""/>
        <dsp:cNvSpPr/>
      </dsp:nvSpPr>
      <dsp:spPr>
        <a:xfrm>
          <a:off x="852694" y="3343556"/>
          <a:ext cx="2548236" cy="637059"/>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Script &amp; Deploy Schema.</a:t>
          </a:r>
          <a:endParaRPr lang="en-US" sz="1600" kern="1200"/>
        </a:p>
      </dsp:txBody>
      <dsp:txXfrm>
        <a:off x="871353" y="3362215"/>
        <a:ext cx="2510918" cy="599741"/>
      </dsp:txXfrm>
    </dsp:sp>
    <dsp:sp modelId="{0B6E9185-94CC-4FD2-8DB6-908ED2AE4E72}">
      <dsp:nvSpPr>
        <dsp:cNvPr id="0" name=""/>
        <dsp:cNvSpPr/>
      </dsp:nvSpPr>
      <dsp:spPr>
        <a:xfrm rot="5400000">
          <a:off x="2007363" y="3936168"/>
          <a:ext cx="238897" cy="28667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040809" y="3960058"/>
        <a:ext cx="172006" cy="167228"/>
      </dsp:txXfrm>
    </dsp:sp>
    <dsp:sp modelId="{6E62E76E-01D8-4F08-9CB0-BB512EEB0549}">
      <dsp:nvSpPr>
        <dsp:cNvPr id="0" name=""/>
        <dsp:cNvSpPr/>
      </dsp:nvSpPr>
      <dsp:spPr>
        <a:xfrm>
          <a:off x="852694" y="4178397"/>
          <a:ext cx="2548236" cy="6370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Select tables &amp; migrate data.</a:t>
          </a:r>
          <a:endParaRPr lang="en-US" sz="1600" kern="1200" dirty="0"/>
        </a:p>
      </dsp:txBody>
      <dsp:txXfrm>
        <a:off x="871353" y="4197056"/>
        <a:ext cx="2510918" cy="5997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D8F0A0-CAF0-41A0-B293-16D6B03412E0}">
      <dsp:nvSpPr>
        <dsp:cNvPr id="0" name=""/>
        <dsp:cNvSpPr/>
      </dsp:nvSpPr>
      <dsp:spPr>
        <a:xfrm>
          <a:off x="0" y="154604"/>
          <a:ext cx="5592762" cy="1312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Used for much larger databases to achieve greater parallelization for increased performance.</a:t>
          </a:r>
          <a:endParaRPr lang="en-US" sz="2200" kern="1200"/>
        </a:p>
      </dsp:txBody>
      <dsp:txXfrm>
        <a:off x="64083" y="218687"/>
        <a:ext cx="5464596" cy="1184574"/>
      </dsp:txXfrm>
    </dsp:sp>
    <dsp:sp modelId="{53760BB8-9052-47FF-926F-D7AD6CDAF182}">
      <dsp:nvSpPr>
        <dsp:cNvPr id="0" name=""/>
        <dsp:cNvSpPr/>
      </dsp:nvSpPr>
      <dsp:spPr>
        <a:xfrm>
          <a:off x="0" y="1530704"/>
          <a:ext cx="5592762" cy="1312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Migrate the schema and the data separately:</a:t>
          </a:r>
          <a:endParaRPr lang="en-US" sz="2200" kern="1200" dirty="0"/>
        </a:p>
      </dsp:txBody>
      <dsp:txXfrm>
        <a:off x="64083" y="1594787"/>
        <a:ext cx="5464596" cy="1184574"/>
      </dsp:txXfrm>
    </dsp:sp>
    <dsp:sp modelId="{A9EC191E-A98A-498C-B659-DC218F38CA75}">
      <dsp:nvSpPr>
        <dsp:cNvPr id="0" name=""/>
        <dsp:cNvSpPr/>
      </dsp:nvSpPr>
      <dsp:spPr>
        <a:xfrm>
          <a:off x="0" y="2843445"/>
          <a:ext cx="5592762" cy="1821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570"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Export the schema only to a DACPAC file.</a:t>
          </a:r>
          <a:endParaRPr lang="en-US" sz="1700" kern="1200" dirty="0"/>
        </a:p>
        <a:p>
          <a:pPr marL="171450" lvl="1" indent="-171450" algn="l" defTabSz="755650">
            <a:lnSpc>
              <a:spcPct val="90000"/>
            </a:lnSpc>
            <a:spcBef>
              <a:spcPct val="0"/>
            </a:spcBef>
            <a:spcAft>
              <a:spcPct val="20000"/>
            </a:spcAft>
            <a:buChar char="•"/>
          </a:pPr>
          <a:r>
            <a:rPr lang="en-US" sz="1700" kern="1200" baseline="0" dirty="0"/>
            <a:t>Import the schema only from the DACPAC File into SQL Database.</a:t>
          </a:r>
          <a:endParaRPr lang="en-US" sz="1700" kern="1200" dirty="0"/>
        </a:p>
        <a:p>
          <a:pPr marL="171450" lvl="1" indent="-171450" algn="l" defTabSz="755650">
            <a:lnSpc>
              <a:spcPct val="90000"/>
            </a:lnSpc>
            <a:spcBef>
              <a:spcPct val="0"/>
            </a:spcBef>
            <a:spcAft>
              <a:spcPct val="20000"/>
            </a:spcAft>
            <a:buChar char="•"/>
          </a:pPr>
          <a:r>
            <a:rPr lang="en-US" sz="1700" kern="1200" baseline="0" dirty="0"/>
            <a:t>Use BCP to extract the data into flat files and then parallel load these files into the Azure SQL Database.</a:t>
          </a:r>
          <a:endParaRPr lang="en-US" sz="1700" kern="1200" dirty="0"/>
        </a:p>
        <a:p>
          <a:pPr marL="171450" lvl="1" indent="-171450" algn="l" defTabSz="755650">
            <a:lnSpc>
              <a:spcPct val="90000"/>
            </a:lnSpc>
            <a:spcBef>
              <a:spcPct val="0"/>
            </a:spcBef>
            <a:spcAft>
              <a:spcPct val="20000"/>
            </a:spcAft>
            <a:buChar char="•"/>
          </a:pPr>
          <a:r>
            <a:rPr lang="en-US" sz="1700" kern="1200" baseline="0" dirty="0"/>
            <a:t>Investigate using SQLPackage.exe</a:t>
          </a:r>
          <a:endParaRPr lang="en-US" sz="1700" kern="1200" dirty="0"/>
        </a:p>
      </dsp:txBody>
      <dsp:txXfrm>
        <a:off x="0" y="2843445"/>
        <a:ext cx="5592762" cy="18216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DE7131-F13D-488C-A8B5-205593C06D70}">
      <dsp:nvSpPr>
        <dsp:cNvPr id="0" name=""/>
        <dsp:cNvSpPr/>
      </dsp:nvSpPr>
      <dsp:spPr>
        <a:xfrm>
          <a:off x="0" y="16140"/>
          <a:ext cx="5440361"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Used will have minimal downtime during migration.</a:t>
          </a:r>
          <a:endParaRPr lang="en-US" sz="2100" kern="1200" dirty="0"/>
        </a:p>
      </dsp:txBody>
      <dsp:txXfrm>
        <a:off x="44378" y="60518"/>
        <a:ext cx="5351605" cy="820333"/>
      </dsp:txXfrm>
    </dsp:sp>
    <dsp:sp modelId="{E878039B-14AF-4619-9585-7B247E17D310}">
      <dsp:nvSpPr>
        <dsp:cNvPr id="0" name=""/>
        <dsp:cNvSpPr/>
      </dsp:nvSpPr>
      <dsp:spPr>
        <a:xfrm>
          <a:off x="0" y="985710"/>
          <a:ext cx="5440361"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Configure your Azure SQL Database as a subscriber.</a:t>
          </a:r>
          <a:endParaRPr lang="en-US" sz="2100" kern="1200"/>
        </a:p>
      </dsp:txBody>
      <dsp:txXfrm>
        <a:off x="44378" y="1030088"/>
        <a:ext cx="5351605" cy="820333"/>
      </dsp:txXfrm>
    </dsp:sp>
    <dsp:sp modelId="{F019A285-E246-4A68-86E2-60A5AEBB41FC}">
      <dsp:nvSpPr>
        <dsp:cNvPr id="0" name=""/>
        <dsp:cNvSpPr/>
      </dsp:nvSpPr>
      <dsp:spPr>
        <a:xfrm>
          <a:off x="0" y="1955279"/>
          <a:ext cx="5440361"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ll changes to your data or schema show up in your Azure SQL Database.</a:t>
          </a:r>
          <a:endParaRPr lang="en-US" sz="2100" kern="1200" dirty="0"/>
        </a:p>
      </dsp:txBody>
      <dsp:txXfrm>
        <a:off x="44378" y="1999657"/>
        <a:ext cx="5351605" cy="820333"/>
      </dsp:txXfrm>
    </dsp:sp>
    <dsp:sp modelId="{708DA041-84E3-4367-943E-D3CB957C080E}">
      <dsp:nvSpPr>
        <dsp:cNvPr id="0" name=""/>
        <dsp:cNvSpPr/>
      </dsp:nvSpPr>
      <dsp:spPr>
        <a:xfrm>
          <a:off x="0" y="2924849"/>
          <a:ext cx="5440361"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Synchronization is complete – change the  connection string of your application.</a:t>
          </a:r>
          <a:endParaRPr lang="en-US" sz="2100" kern="1200"/>
        </a:p>
      </dsp:txBody>
      <dsp:txXfrm>
        <a:off x="44378" y="2969227"/>
        <a:ext cx="5351605" cy="820333"/>
      </dsp:txXfrm>
    </dsp:sp>
    <dsp:sp modelId="{1DD8228F-B3DA-4E33-8314-73AAC251CFF1}">
      <dsp:nvSpPr>
        <dsp:cNvPr id="0" name=""/>
        <dsp:cNvSpPr/>
      </dsp:nvSpPr>
      <dsp:spPr>
        <a:xfrm>
          <a:off x="0" y="3894420"/>
          <a:ext cx="5440361"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Remove Replication.</a:t>
          </a:r>
          <a:endParaRPr lang="en-US" sz="2100" kern="1200"/>
        </a:p>
      </dsp:txBody>
      <dsp:txXfrm>
        <a:off x="44378" y="3938798"/>
        <a:ext cx="5351605" cy="82033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7DF1A0-2B41-443A-AE97-E9180797AE24}">
      <dsp:nvSpPr>
        <dsp:cNvPr id="0" name=""/>
        <dsp:cNvSpPr/>
      </dsp:nvSpPr>
      <dsp:spPr>
        <a:xfrm>
          <a:off x="-5435025" y="-832304"/>
          <a:ext cx="6472191" cy="6472191"/>
        </a:xfrm>
        <a:prstGeom prst="blockArc">
          <a:avLst>
            <a:gd name="adj1" fmla="val 18900000"/>
            <a:gd name="adj2" fmla="val 2700000"/>
            <a:gd name="adj3" fmla="val 29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14BE17-FCA9-497E-B634-8A72F61231DF}">
      <dsp:nvSpPr>
        <dsp:cNvPr id="0" name=""/>
        <dsp:cNvSpPr/>
      </dsp:nvSpPr>
      <dsp:spPr>
        <a:xfrm>
          <a:off x="667292" y="480758"/>
          <a:ext cx="7006578" cy="961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320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a:ea typeface="+mn-ea"/>
              <a:cs typeface="+mn-cs"/>
            </a:rPr>
            <a:t>Fully managed, reliable and seamless, migration service for both operational databases and data warehouses.</a:t>
          </a:r>
        </a:p>
      </dsp:txBody>
      <dsp:txXfrm>
        <a:off x="667292" y="480758"/>
        <a:ext cx="7006578" cy="961516"/>
      </dsp:txXfrm>
    </dsp:sp>
    <dsp:sp modelId="{B7C36EA6-D9E3-45F9-8637-47089DAFD325}">
      <dsp:nvSpPr>
        <dsp:cNvPr id="0" name=""/>
        <dsp:cNvSpPr/>
      </dsp:nvSpPr>
      <dsp:spPr>
        <a:xfrm>
          <a:off x="66344" y="360568"/>
          <a:ext cx="1201895" cy="12018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332BA2-0453-41BB-92A7-0966B4FC8B03}">
      <dsp:nvSpPr>
        <dsp:cNvPr id="0" name=""/>
        <dsp:cNvSpPr/>
      </dsp:nvSpPr>
      <dsp:spPr>
        <a:xfrm>
          <a:off x="1016803" y="1923033"/>
          <a:ext cx="6657067" cy="961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320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latin typeface="Segoe UI"/>
              <a:ea typeface="+mn-ea"/>
              <a:cs typeface="+mn-cs"/>
            </a:rPr>
            <a:t>Minimal down time migrations.</a:t>
          </a:r>
          <a:endParaRPr lang="en-US" sz="2000" kern="1200" dirty="0">
            <a:latin typeface="Segoe UI"/>
            <a:ea typeface="+mn-ea"/>
            <a:cs typeface="+mn-cs"/>
          </a:endParaRPr>
        </a:p>
      </dsp:txBody>
      <dsp:txXfrm>
        <a:off x="1016803" y="1923033"/>
        <a:ext cx="6657067" cy="961516"/>
      </dsp:txXfrm>
    </dsp:sp>
    <dsp:sp modelId="{E7CEE042-9318-4C10-B3C5-1D212D9E7A70}">
      <dsp:nvSpPr>
        <dsp:cNvPr id="0" name=""/>
        <dsp:cNvSpPr/>
      </dsp:nvSpPr>
      <dsp:spPr>
        <a:xfrm>
          <a:off x="415855" y="1802843"/>
          <a:ext cx="1201895" cy="12018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61C2FE0-A9C3-4A78-81B4-7392360A48BD}">
      <dsp:nvSpPr>
        <dsp:cNvPr id="0" name=""/>
        <dsp:cNvSpPr/>
      </dsp:nvSpPr>
      <dsp:spPr>
        <a:xfrm>
          <a:off x="667292" y="3365308"/>
          <a:ext cx="7006578" cy="961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320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latin typeface="Segoe UI"/>
              <a:ea typeface="+mn-ea"/>
              <a:cs typeface="+mn-cs"/>
            </a:rPr>
            <a:t>Homogeneous and heterogeneous source-target pairs.</a:t>
          </a:r>
          <a:endParaRPr lang="en-US" sz="2000" kern="1200" dirty="0">
            <a:latin typeface="Segoe UI"/>
            <a:ea typeface="+mn-ea"/>
            <a:cs typeface="+mn-cs"/>
          </a:endParaRPr>
        </a:p>
      </dsp:txBody>
      <dsp:txXfrm>
        <a:off x="667292" y="3365308"/>
        <a:ext cx="7006578" cy="961516"/>
      </dsp:txXfrm>
    </dsp:sp>
    <dsp:sp modelId="{A9E5FCF8-350D-4C13-9968-CE044B94D044}">
      <dsp:nvSpPr>
        <dsp:cNvPr id="0" name=""/>
        <dsp:cNvSpPr/>
      </dsp:nvSpPr>
      <dsp:spPr>
        <a:xfrm>
          <a:off x="66344" y="3245118"/>
          <a:ext cx="1201895" cy="12018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01.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0/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msdn.microsoft.com/library/ms144262(v=sql.110)" TargetMode="External"/><Relationship Id="rId3" Type="http://schemas.openxmlformats.org/officeDocument/2006/relationships/hyperlink" Target="https://docs.microsoft.com/en-us/azure/sql-database/sql-database-transact-sql-information" TargetMode="External"/><Relationship Id="rId7" Type="http://schemas.openxmlformats.org/officeDocument/2006/relationships/hyperlink" Target="https://msdn.microsoft.com/library/ms144262(v=sql.120)"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msdn.microsoft.com/library/ms144262(v=sql.130)" TargetMode="External"/><Relationship Id="rId5" Type="http://schemas.openxmlformats.org/officeDocument/2006/relationships/hyperlink" Target="https://docs.microsoft.com/en-us/sql/database-engine/deprecated-database-engine-features-in-sql-server-2017?view=sql-server-ver15" TargetMode="External"/><Relationship Id="rId4" Type="http://schemas.openxmlformats.org/officeDocument/2006/relationships/hyperlink" Target="https://docs.microsoft.com/en-us/sql/database-engine/deprecated-database-engine-features-in-sql-server-version-15?view=sql-server-ver15" TargetMode="External"/><Relationship Id="rId9" Type="http://schemas.openxmlformats.org/officeDocument/2006/relationships/hyperlink" Target="https://msdn.microsoft.com/library/ms144262(v=sql.105)"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dma/dma-migrateonpremsqltosqldb?view=sql-server-2017"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sql/tools/sqlpackage?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aka.ms/dma"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msdn.microsoft.com/library/ms187348.aspx"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azure/sql-database/sql-database-sync-data"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azure/sql-database/sql-database-sync-data"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azure/sql-database/sql-database-sync-data"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azure.microsoft.com/pricing/details/automation/"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azure.microsoft.com/pricing/details/log-analytics/"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microsoft.com/en-us/download/details.aspx?id=27693"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sql/dma/dma-assesssqlonprem" TargetMode="External"/><Relationship Id="rId7" Type="http://schemas.openxmlformats.org/officeDocument/2006/relationships/hyperlink" Target="https://docs.microsoft.com/sql/dma/dma-migrateonpremsql"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cloud-migrate" TargetMode="External"/><Relationship Id="rId5" Type="http://schemas.openxmlformats.org/officeDocument/2006/relationships/hyperlink" Target="https://msdn.microsoft.com/library/ms175876.aspx" TargetMode="External"/><Relationship Id="rId4" Type="http://schemas.openxmlformats.org/officeDocument/2006/relationships/hyperlink" Target="https://www.microsoft.com/download/details.aspx?id=53595"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dma/dma-assesssqlonprem?view=sql-server-2017"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ix lessons in this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00028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6L02Demo01</a:t>
            </a:r>
          </a:p>
          <a:p>
            <a:endParaRPr lang="en-US" b="1" dirty="0"/>
          </a:p>
          <a:p>
            <a:r>
              <a:rPr lang="en-US" b="1" dirty="0"/>
              <a:t>Demo setup instructions</a:t>
            </a:r>
          </a:p>
          <a:p>
            <a:pPr marL="171450" indent="-171450">
              <a:buFont typeface="Arial" panose="020B0604020202020204" pitchFamily="34" charset="0"/>
              <a:buChar char="•"/>
            </a:pPr>
            <a:r>
              <a:rPr lang="en-US" dirty="0"/>
              <a:t>The demo database pubs has to be installed on the VM or on your computer if you’re running a local instance. </a:t>
            </a:r>
          </a:p>
          <a:p>
            <a:pPr marL="0" indent="0">
              <a:buFont typeface="Arial" panose="020B0604020202020204" pitchFamily="34" charset="0"/>
              <a:buNone/>
            </a:pPr>
            <a:r>
              <a:rPr lang="en-US" dirty="0"/>
              <a:t>     The backup file of the database can be found in </a:t>
            </a:r>
            <a:r>
              <a:rPr lang="en-US" b="1" dirty="0"/>
              <a:t>C:\Demos\M06L02Demo01 </a:t>
            </a:r>
            <a:r>
              <a:rPr lang="en-US" dirty="0"/>
              <a:t>folder.</a:t>
            </a:r>
          </a:p>
          <a:p>
            <a:pPr marL="171450" indent="-171450">
              <a:buFont typeface="Arial" panose="020B0604020202020204" pitchFamily="34" charset="0"/>
              <a:buChar char="•"/>
            </a:pPr>
            <a:r>
              <a:rPr lang="en-US" dirty="0"/>
              <a:t>The latest</a:t>
            </a:r>
            <a:r>
              <a:rPr lang="en-US" baseline="0" dirty="0"/>
              <a:t> version of the Data Migration Assistant https://www.microsoft.com/en-us/download/details.aspx?id=53595 should be installed</a:t>
            </a: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Steps</a:t>
            </a:r>
          </a:p>
          <a:p>
            <a:pPr marL="228600" indent="-228600">
              <a:buFont typeface="Arial" panose="020B0604020202020204" pitchFamily="34" charset="0"/>
              <a:buAutoNum type="arabicPeriod"/>
            </a:pPr>
            <a:r>
              <a:rPr lang="en-US" b="0" i="0" dirty="0"/>
              <a:t>Open the DMA and create</a:t>
            </a:r>
            <a:r>
              <a:rPr lang="en-US" b="0" i="0" baseline="0" dirty="0"/>
              <a:t> a new </a:t>
            </a:r>
            <a:r>
              <a:rPr lang="en-US" b="0" i="0" u="sng" baseline="0" dirty="0"/>
              <a:t>assessment</a:t>
            </a:r>
            <a:r>
              <a:rPr lang="en-US" b="0" i="0" baseline="0" dirty="0"/>
              <a:t> project with target type Azure SQL Database</a:t>
            </a:r>
          </a:p>
          <a:p>
            <a:pPr marL="228600" indent="-228600">
              <a:buFont typeface="Arial" panose="020B0604020202020204" pitchFamily="34" charset="0"/>
              <a:buAutoNum type="arabicPeriod"/>
            </a:pPr>
            <a:r>
              <a:rPr lang="en-US" b="0" i="0" baseline="0" dirty="0"/>
              <a:t>Connect to your on-premises instance and select the pubs database as source</a:t>
            </a:r>
          </a:p>
          <a:p>
            <a:pPr marL="228600" indent="-228600">
              <a:buFont typeface="Arial" panose="020B0604020202020204" pitchFamily="34" charset="0"/>
              <a:buAutoNum type="arabicPeriod"/>
            </a:pPr>
            <a:r>
              <a:rPr lang="en-US" b="0" i="0" baseline="0" dirty="0"/>
              <a:t>Click the Start Assessment button</a:t>
            </a:r>
          </a:p>
          <a:p>
            <a:pPr marL="228600" indent="-228600">
              <a:buFont typeface="Arial" panose="020B0604020202020204" pitchFamily="34" charset="0"/>
              <a:buAutoNum type="arabicPeriod"/>
            </a:pPr>
            <a:r>
              <a:rPr lang="en-US" b="0" i="0" baseline="0" dirty="0"/>
              <a:t>Wait until the assessment is finished and explain the SQL Server feature parity and the compatibility issues</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048798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lesson covers the steps and tools to fix compatibility issues with your database before migration to Azure SQL Database.</a:t>
            </a:r>
            <a:endParaRPr lang="nl-BE" dirty="0"/>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1679344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dirty="0"/>
              <a:t>This lesson covers the steps and tools to fix compatibility issues with your database before migration to Azure SQL Database.</a:t>
            </a:r>
            <a:endParaRPr lang="nl-BE" dirty="0"/>
          </a:p>
          <a:p>
            <a:endParaRPr lang="nl-BE"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compatibility issues are detected, you must fix them before proceeding with the Azure SQL database migration. There are a wide variety of compatibility issues that you might encounter, depending both on the version of SQL Server in the source database and the complexity of the database you are migrating. Older versions of SQL Server have more compatibility issues. Use the following resources, in addition to a targeted Internet search using your search engine of choices:</a:t>
            </a:r>
          </a:p>
          <a:p>
            <a:pPr lvl="1">
              <a:lnSpc>
                <a:spcPct val="150000"/>
              </a:lnSpc>
              <a:buFont typeface="Arial" pitchFamily="34" charset="0"/>
              <a:buChar char="•"/>
            </a:pPr>
            <a:r>
              <a:rPr lang="en-US" u="sng" dirty="0">
                <a:hlinkClick r:id="rId3"/>
              </a:rPr>
              <a:t>SQL Server </a:t>
            </a:r>
            <a:r>
              <a:rPr lang="en-US" dirty="0">
                <a:hlinkClick r:id="rId3"/>
              </a:rPr>
              <a:t>database features </a:t>
            </a:r>
            <a:r>
              <a:rPr lang="en-US" u="sng" dirty="0">
                <a:hlinkClick r:id="rId3"/>
              </a:rPr>
              <a:t>not supported in Azure SQL Database</a:t>
            </a:r>
            <a:endParaRPr lang="en-US" u="sng" dirty="0"/>
          </a:p>
          <a:p>
            <a:pPr lvl="1">
              <a:lnSpc>
                <a:spcPct val="150000"/>
              </a:lnSpc>
              <a:buFont typeface="Arial" pitchFamily="34" charset="0"/>
              <a:buChar char="•"/>
            </a:pPr>
            <a:r>
              <a:rPr lang="en-US" u="sng" dirty="0">
                <a:hlinkClick r:id="rId4"/>
              </a:rPr>
              <a:t>Discontinued Database Engine Functionality in SQL Server 2019</a:t>
            </a:r>
            <a:endParaRPr lang="en-US" u="sng" dirty="0"/>
          </a:p>
          <a:p>
            <a:pPr lvl="1">
              <a:lnSpc>
                <a:spcPct val="150000"/>
              </a:lnSpc>
              <a:buFont typeface="Arial" pitchFamily="34" charset="0"/>
              <a:buChar char="•"/>
            </a:pPr>
            <a:r>
              <a:rPr lang="en-US" u="sng" dirty="0">
                <a:hlinkClick r:id="rId5"/>
              </a:rPr>
              <a:t>Discontinued Database Engine Functionality in SQL Server 2017</a:t>
            </a:r>
            <a:endParaRPr lang="en-US" u="sng" dirty="0"/>
          </a:p>
          <a:p>
            <a:pPr lvl="1">
              <a:lnSpc>
                <a:spcPct val="150000"/>
              </a:lnSpc>
              <a:buFont typeface="Arial" pitchFamily="34" charset="0"/>
              <a:buChar char="•"/>
            </a:pPr>
            <a:r>
              <a:rPr lang="en-US" u="sng" dirty="0">
                <a:hlinkClick r:id="rId6"/>
              </a:rPr>
              <a:t>Discontinued Database Engine Functionality in SQL Server 2016</a:t>
            </a:r>
            <a:endParaRPr lang="en-US" u="sng" dirty="0"/>
          </a:p>
          <a:p>
            <a:pPr lvl="1">
              <a:lnSpc>
                <a:spcPct val="150000"/>
              </a:lnSpc>
              <a:buFont typeface="Arial" pitchFamily="34" charset="0"/>
              <a:buChar char="•"/>
            </a:pPr>
            <a:r>
              <a:rPr lang="en-US" u="sng" dirty="0">
                <a:hlinkClick r:id="rId7"/>
              </a:rPr>
              <a:t>Discontinued Database Engine Functionality in SQL Server 2014</a:t>
            </a:r>
            <a:endParaRPr lang="en-US" u="sng" dirty="0"/>
          </a:p>
          <a:p>
            <a:pPr lvl="1">
              <a:lnSpc>
                <a:spcPct val="150000"/>
              </a:lnSpc>
              <a:buFont typeface="Arial" pitchFamily="34" charset="0"/>
              <a:buChar char="•"/>
            </a:pPr>
            <a:r>
              <a:rPr lang="en-US" u="sng" dirty="0">
                <a:hlinkClick r:id="rId8"/>
              </a:rPr>
              <a:t>Discontinued Database Engine Functionality in SQL Server 2012</a:t>
            </a:r>
            <a:endParaRPr lang="en-US" u="sng" dirty="0"/>
          </a:p>
          <a:p>
            <a:pPr lvl="1">
              <a:lnSpc>
                <a:spcPct val="150000"/>
              </a:lnSpc>
              <a:buFont typeface="Arial" pitchFamily="34" charset="0"/>
              <a:buChar char="•"/>
            </a:pPr>
            <a:r>
              <a:rPr lang="en-US" u="sng" dirty="0">
                <a:hlinkClick r:id="rId9"/>
              </a:rPr>
              <a:t>Discontinued Database Engine Functionality in SQL Server 2008 R2</a:t>
            </a:r>
            <a:endParaRPr lang="en-US" u="sng"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235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a:t>This lesson covers the steps to </a:t>
            </a:r>
            <a:r>
              <a:rPr lang="en-IN" sz="800" dirty="0">
                <a:latin typeface="Segoe UI  "/>
              </a:rPr>
              <a:t>right size your Azure SQL Database using the current SQL Server metrics.</a:t>
            </a:r>
          </a:p>
          <a:p>
            <a:endParaRPr lang="nl-BE" dirty="0"/>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31889134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a:lnSpc>
                <a:spcPct val="150000"/>
              </a:lnSpc>
            </a:pPr>
            <a:r>
              <a:rPr lang="en-US" dirty="0"/>
              <a:t>This lesson covers the steps to </a:t>
            </a:r>
            <a:r>
              <a:rPr lang="en-IN" sz="800" dirty="0">
                <a:latin typeface="Segoe UI  "/>
              </a:rPr>
              <a:t>right size your Azure SQL Database using the current SQL Server metrics.</a:t>
            </a:r>
          </a:p>
          <a:p>
            <a:endParaRPr lang="nl-BE"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dirty="0">
                <a:solidFill>
                  <a:schemeClr val="tx1"/>
                </a:solidFill>
                <a:effectLst/>
                <a:latin typeface="Segoe UI Light" pitchFamily="34" charset="0"/>
                <a:ea typeface="+mn-ea"/>
                <a:cs typeface="+mn-cs"/>
              </a:rPr>
              <a:t>Migrating databases to the cloud can be complicated, especially when trying to select the best Azure database target and SKU for your database. Our goal with the Database Migration Assistant (DMA) is to help address these questions and make your database migration experience easier by providing these SKU recommendations in a user-friendly output.</a:t>
            </a:r>
          </a:p>
          <a:p>
            <a:r>
              <a:rPr lang="en-US" dirty="0">
                <a:latin typeface="Segoe UI Light"/>
                <a:cs typeface="Segoe UI Light"/>
              </a:rPr>
              <a:t>DMA's</a:t>
            </a:r>
            <a:r>
              <a:rPr lang="en-US" sz="800" b="0" i="0" kern="1200" dirty="0">
                <a:solidFill>
                  <a:schemeClr val="tx1"/>
                </a:solidFill>
                <a:effectLst/>
                <a:latin typeface="Segoe UI Light"/>
                <a:cs typeface="Segoe UI Light"/>
              </a:rPr>
              <a:t> Azure SQL Database SKU recommendations feature. Azure SQL Database has several deployment options, including:</a:t>
            </a:r>
          </a:p>
          <a:p>
            <a:pPr marL="285750" indent="-285750">
              <a:buFont typeface="Arial"/>
              <a:buChar char="•"/>
            </a:pPr>
            <a:r>
              <a:rPr lang="en-US" sz="800" b="0" i="0" kern="1200" dirty="0">
                <a:solidFill>
                  <a:schemeClr val="tx1"/>
                </a:solidFill>
                <a:effectLst/>
                <a:latin typeface="Segoe UI Light" pitchFamily="34" charset="0"/>
                <a:ea typeface="+mn-ea"/>
                <a:cs typeface="+mn-cs"/>
              </a:rPr>
              <a:t>Single database</a:t>
            </a:r>
            <a:endParaRPr lang="en-US" sz="800" b="0" i="0" kern="1200" dirty="0">
              <a:solidFill>
                <a:schemeClr val="tx1"/>
              </a:solidFill>
              <a:effectLst/>
              <a:cs typeface="Segoe UI Light" pitchFamily="34" charset="0"/>
            </a:endParaRPr>
          </a:p>
          <a:p>
            <a:pPr marL="285750" indent="-285750">
              <a:buFont typeface="Arial"/>
              <a:buChar char="•"/>
            </a:pPr>
            <a:r>
              <a:rPr lang="en-US" sz="800" b="0" i="0" kern="1200" dirty="0">
                <a:solidFill>
                  <a:schemeClr val="tx1"/>
                </a:solidFill>
                <a:effectLst/>
                <a:latin typeface="Segoe UI Light" pitchFamily="34" charset="0"/>
                <a:ea typeface="+mn-ea"/>
                <a:cs typeface="+mn-cs"/>
              </a:rPr>
              <a:t>Elastic pools</a:t>
            </a:r>
            <a:endParaRPr lang="en-US" sz="800" b="0" i="0" kern="1200" dirty="0">
              <a:solidFill>
                <a:schemeClr val="tx1"/>
              </a:solidFill>
              <a:effectLst/>
              <a:cs typeface="Segoe UI Light" pitchFamily="34" charset="0"/>
            </a:endParaRPr>
          </a:p>
          <a:p>
            <a:pPr marL="285750" indent="-285750">
              <a:buFont typeface="Arial"/>
              <a:buChar char="•"/>
            </a:pPr>
            <a:r>
              <a:rPr lang="en-US" sz="800" b="0" i="0" kern="1200" dirty="0">
                <a:solidFill>
                  <a:schemeClr val="tx1"/>
                </a:solidFill>
                <a:effectLst/>
                <a:latin typeface="Segoe UI Light" pitchFamily="34" charset="0"/>
                <a:ea typeface="+mn-ea"/>
                <a:cs typeface="+mn-cs"/>
              </a:rPr>
              <a:t>Managed instance</a:t>
            </a:r>
            <a:endParaRPr lang="en-US" sz="800" b="0" i="0" kern="1200" dirty="0">
              <a:solidFill>
                <a:schemeClr val="tx1"/>
              </a:solidFill>
              <a:effectLst/>
              <a:cs typeface="Segoe UI Light"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4047096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The SKU Recommendations feature allows you to identify both the minimum recommended Azure SQL Database single database or managed instance SKU based on performance counters collected from the computer(s) hosting your databases. The feature provides recommendations related to pricing tier, compute level, and max data size, as well as estimated cost per month. It also offers the ability to bulk provision single databases and managed instances in Azure for all recommended databases.</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a:p>
        </p:txBody>
      </p:sp>
    </p:spTree>
    <p:extLst>
      <p:ext uri="{BB962C8B-B14F-4D97-AF65-F5344CB8AC3E}">
        <p14:creationId xmlns:p14="http://schemas.microsoft.com/office/powerpoint/2010/main" val="3922872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the steps and tools to migrate your database to Azure SQL Database.</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8335065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lesson covers the steps to migrate your compatible database to Azure SQL Database.</a:t>
            </a:r>
            <a:endParaRPr lang="nl-BE" dirty="0"/>
          </a:p>
          <a:p>
            <a:endParaRPr lang="nl-BE" dirty="0"/>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3963284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dirty="0"/>
              <a:t>This lesson covers the steps to migrate your compatible database to Azure SQL Database.</a:t>
            </a:r>
            <a:endParaRPr lang="nl-BE" dirty="0"/>
          </a:p>
          <a:p>
            <a:endParaRPr lang="nl-BE" dirty="0"/>
          </a:p>
          <a:p>
            <a:endParaRPr lang="nl-BE"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Migration Assistant provides migrations to Azure SQL Database. The article below provides step-by-step instructions for migrating SQL Server on-premises to Azure SQL Database by using the Data Migration Assistant. </a:t>
            </a:r>
          </a:p>
          <a:p>
            <a:endParaRPr lang="en-US" dirty="0"/>
          </a:p>
          <a:p>
            <a:r>
              <a:rPr lang="en-US" dirty="0"/>
              <a:t>Migrate on-premises SQL Server or SQL Server on Azure VMs to Azure SQL Database using the Data Migration Assistant:</a:t>
            </a:r>
          </a:p>
          <a:p>
            <a:r>
              <a:rPr lang="nl-BE" dirty="0">
                <a:hlinkClick r:id="rId3"/>
              </a:rPr>
              <a:t>https://docs.microsoft.com/en-us/sql/dma/dma-migrateonpremsqltosqldb?view=sql-server-2017</a:t>
            </a:r>
            <a:r>
              <a:rPr lang="nl-BE" dirty="0"/>
              <a:t> </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17364982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methods for Export/Import of larger databases to migrate to Azure SQL Database:</a:t>
            </a:r>
          </a:p>
          <a:p>
            <a:pPr marL="228600" indent="-228600">
              <a:buAutoNum type="arabicPeriod"/>
            </a:pPr>
            <a:r>
              <a:rPr lang="en-US" dirty="0"/>
              <a:t>Using BACPAC file for schema and data migration</a:t>
            </a:r>
          </a:p>
          <a:p>
            <a:pPr marL="228600" indent="-228600">
              <a:buAutoNum type="arabicPeriod"/>
            </a:pPr>
            <a:r>
              <a:rPr lang="en-US" dirty="0"/>
              <a:t>Using BACPAC file for schema migration and BCP for data migration</a:t>
            </a:r>
          </a:p>
          <a:p>
            <a:pPr marL="228600" indent="-228600">
              <a:buFont typeface="+mj-lt"/>
              <a:buAutoNum type="arabicPeriod"/>
            </a:pPr>
            <a:endParaRPr lang="en-US" dirty="0"/>
          </a:p>
          <a:p>
            <a:pPr marL="228600" indent="-228600">
              <a:buFont typeface="+mj-lt"/>
              <a:buAutoNum type="arabicPeriod"/>
            </a:pPr>
            <a:endParaRPr lang="en-US" dirty="0"/>
          </a:p>
          <a:p>
            <a:r>
              <a:rPr lang="en-US" dirty="0"/>
              <a:t>1.  Export to BACPAC File and then Import from BACPAC File: If you have connectivity challenges (no connectivity, low bandwidth, or timeout issues) and for medium to large databases, use a BACPAC file. With this method, you export the SQL Server schema and data to a BACPAC file. You then import the BACPAC file into SQL Database using the Export Data Tier Application Wizard in SQL Server Management Studio or the </a:t>
            </a:r>
            <a:r>
              <a:rPr lang="en-US" dirty="0" err="1"/>
              <a:t>SqlPackage</a:t>
            </a:r>
            <a:r>
              <a:rPr lang="en-US" dirty="0"/>
              <a:t> command-prompt utility.</a:t>
            </a:r>
          </a:p>
          <a:p>
            <a:r>
              <a:rPr lang="en-US" dirty="0"/>
              <a:t>2.  Use BACPAC and BCP together: Use a BACPAC file and BCP for much larger databases to achieve greater parallelization for increases performance, albeit with greater complexity. With this method, migrate the schema and the data separately.</a:t>
            </a:r>
          </a:p>
          <a:p>
            <a:pPr marL="445862" lvl="1" indent="-228600">
              <a:buFont typeface="+mj-lt"/>
              <a:buAutoNum type="alphaLcParenR"/>
            </a:pPr>
            <a:r>
              <a:rPr lang="en-US" dirty="0"/>
              <a:t>Export the schema only to a BACPAC file.</a:t>
            </a:r>
          </a:p>
          <a:p>
            <a:pPr marL="445862" lvl="1" indent="-228600">
              <a:buFont typeface="+mj-lt"/>
              <a:buAutoNum type="alphaLcParenR"/>
            </a:pPr>
            <a:r>
              <a:rPr lang="en-US" dirty="0"/>
              <a:t>Import the schema only from the BACPAC File into SQL Database.</a:t>
            </a:r>
          </a:p>
          <a:p>
            <a:pPr marL="445862" lvl="1" indent="-228600">
              <a:buFont typeface="+mj-lt"/>
              <a:buAutoNum type="alphaLcParenR"/>
            </a:pPr>
            <a:r>
              <a:rPr lang="en-US" dirty="0"/>
              <a:t>Use BCP to extract the data into flat files and then parallel load these files into Azure SQL Database.</a:t>
            </a:r>
          </a:p>
          <a:p>
            <a:pPr marL="445862" lvl="1" indent="-228600">
              <a:buFont typeface="+mj-lt"/>
              <a:buAutoNum type="alphaLcParenR"/>
            </a:pPr>
            <a:endParaRPr lang="en-US" dirty="0"/>
          </a:p>
          <a:p>
            <a:pPr marL="445862" lvl="1" indent="-228600">
              <a:buFont typeface="+mj-lt"/>
              <a:buAutoNum type="alphaLcParenR"/>
            </a:pPr>
            <a:endParaRPr lang="en-US" dirty="0"/>
          </a:p>
          <a:p>
            <a:pPr marL="217262" lvl="1" indent="0">
              <a:buFont typeface="+mj-lt"/>
              <a:buNone/>
            </a:pPr>
            <a:r>
              <a:rPr lang="en-US" dirty="0"/>
              <a:t>Discuss the use of SQLPackage.exe</a:t>
            </a:r>
          </a:p>
          <a:p>
            <a:pPr marL="217262" lvl="1" indent="0">
              <a:buFont typeface="+mj-lt"/>
              <a:buNone/>
            </a:pPr>
            <a:r>
              <a:rPr lang="en-US" dirty="0">
                <a:hlinkClick r:id="rId3"/>
              </a:rPr>
              <a:t>https://docs.microsoft.com/en-us/sql/tools/sqlpackage?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1572323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dirty="0"/>
              <a:t>Understanding the Transactional Replication architecture</a:t>
            </a:r>
          </a:p>
          <a:p>
            <a:r>
              <a:rPr lang="en-US" sz="800" dirty="0"/>
              <a:t>When you cannot afford to remove your SQL Server database from production while the migration is occurring, you can use SQL Server transactional replication as your migration solution. To use this solution, you configure your Azure SQL Database as a subscriber to the on-premises SQL Server instance that you wish to migrate. The on-premises transactional replication distributor synchronizes data from the on-premises database to be synchronized (the publisher) while new transactions continue to occur. </a:t>
            </a:r>
          </a:p>
          <a:p>
            <a:r>
              <a:rPr lang="en-US" sz="800" dirty="0"/>
              <a:t>With transactional replication, all changes to your data or schema show up in your Azure SQL Database. Once the synchronization is complete and you are ready to migrate, change the connection string of your applications to point them to your Azure SQL Database. Once transactional replication drains any changes left on your on-premises database and all your applications point to the Azure SQL Database, you can uninstall transactional replication. Your Azure SQL Database is now your production system.</a:t>
            </a:r>
          </a:p>
          <a:p>
            <a:endParaRPr lang="en-US" sz="800" dirty="0"/>
          </a:p>
          <a:p>
            <a:r>
              <a:rPr lang="en-US" sz="800" b="1" dirty="0"/>
              <a:t>How Transactional Replication works</a:t>
            </a:r>
          </a:p>
          <a:p>
            <a:r>
              <a:rPr lang="en-US" sz="800" dirty="0"/>
              <a:t>Transactional replication involves 3 main components. They are </a:t>
            </a:r>
            <a:r>
              <a:rPr lang="en-US" sz="800" b="1" dirty="0"/>
              <a:t>the publisher, the distributor and the subscriber</a:t>
            </a:r>
            <a:r>
              <a:rPr lang="en-US" sz="800" dirty="0"/>
              <a:t>. Together these components carry out replication. The distributor is responsible for controlling the processes which move your data between servers. When you set up distribution, SQL will create a distribution database. Each publisher needs to be tied to a distribution database. The distribution database holds the metadata for each associated publication and data on the progress of each replication. For transaction replication it will hold all the transactions than need to be executed in the subscriber.</a:t>
            </a:r>
          </a:p>
          <a:p>
            <a:r>
              <a:rPr lang="en-US" sz="800" dirty="0"/>
              <a:t>The publisher is the database where all data for migration originates. Within the publisher there can be many publications. These publications contain articles which map to all the tables and data that need to be replicated. Depending on how you define the publication and articles you can replicate either all or part of your database. </a:t>
            </a:r>
          </a:p>
          <a:p>
            <a:r>
              <a:rPr lang="en-US" sz="800" dirty="0"/>
              <a:t>In replication the subscriber is the server which receives all the data and transactions from the publication. Each publication can have many subscribers.</a:t>
            </a:r>
          </a:p>
          <a:p>
            <a:endParaRPr lang="en-US" sz="800" dirty="0"/>
          </a:p>
          <a:p>
            <a:r>
              <a:rPr lang="en-US" sz="800" b="1" dirty="0"/>
              <a:t>Some tips and differences for migrating to SQL Database</a:t>
            </a:r>
          </a:p>
          <a:p>
            <a:r>
              <a:rPr lang="en-US" sz="800" dirty="0"/>
              <a:t>Using a local distributor: </a:t>
            </a:r>
          </a:p>
          <a:p>
            <a:pPr lvl="1"/>
            <a:r>
              <a:rPr lang="en-US" sz="800" dirty="0"/>
              <a:t>This will cause a performance impact on the server. </a:t>
            </a:r>
          </a:p>
          <a:p>
            <a:pPr lvl="1"/>
            <a:r>
              <a:rPr lang="en-US" sz="800" dirty="0"/>
              <a:t>If the performance impact is unacceptable you can use another server but it will add complexity in management and administration.</a:t>
            </a:r>
          </a:p>
          <a:p>
            <a:r>
              <a:rPr lang="en-US" sz="800" dirty="0"/>
              <a:t>When selecting a snapshot folder make sure the folder you select is large enough to hold a BCP of every table you want to replicate. </a:t>
            </a:r>
          </a:p>
          <a:p>
            <a:r>
              <a:rPr lang="en-US" sz="800" dirty="0"/>
              <a:t>Note that snapshot creation will lock the associated tables until it is complete, keep this in mind when scheduling your snapshot. </a:t>
            </a:r>
          </a:p>
          <a:p>
            <a:r>
              <a:rPr lang="en-US" sz="800" dirty="0"/>
              <a:t>Only “push” subscriptions are supported in Azure SQL Database (“pull” subscriptions not supported)</a:t>
            </a:r>
          </a:p>
          <a:p>
            <a:pPr lvl="1"/>
            <a:r>
              <a:rPr lang="en-US" sz="800" dirty="0"/>
              <a:t>i.e. You can only add subscribers from the side of your on-premises database</a:t>
            </a:r>
          </a:p>
          <a:p>
            <a:endParaRPr lang="en-US" sz="80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1038871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he </a:t>
            </a:r>
            <a:r>
              <a:rPr lang="en-US" sz="800" b="1" i="0" u="none" strike="noStrike" kern="1200" dirty="0">
                <a:solidFill>
                  <a:schemeClr val="tx1"/>
                </a:solidFill>
                <a:effectLst/>
                <a:latin typeface="Segoe UI Light" pitchFamily="34" charset="0"/>
                <a:ea typeface="+mn-ea"/>
                <a:cs typeface="+mn-cs"/>
              </a:rPr>
              <a:t>Azure Database Migration Service (DMS) </a:t>
            </a:r>
            <a:r>
              <a:rPr lang="en-US" sz="800" b="0" i="0" u="none" strike="noStrike" kern="1200" dirty="0">
                <a:solidFill>
                  <a:schemeClr val="tx1"/>
                </a:solidFill>
                <a:effectLst/>
                <a:latin typeface="Segoe UI Light" pitchFamily="34" charset="0"/>
                <a:ea typeface="+mn-ea"/>
                <a:cs typeface="+mn-cs"/>
              </a:rPr>
              <a:t>is a fully managed service designed to enable seamless migrations from multiple database sources to Azure Data platforms with minimal downtime.</a:t>
            </a:r>
          </a:p>
          <a:p>
            <a:r>
              <a:rPr lang="en-US" sz="800" b="1" i="0" u="none" strike="noStrike" kern="1200" dirty="0">
                <a:solidFill>
                  <a:schemeClr val="tx1"/>
                </a:solidFill>
                <a:effectLst/>
                <a:latin typeface="Segoe UI Light" pitchFamily="34" charset="0"/>
                <a:ea typeface="+mn-ea"/>
                <a:cs typeface="+mn-cs"/>
              </a:rPr>
              <a:t>Migrate databases to Azure with familiar tools</a:t>
            </a:r>
          </a:p>
          <a:p>
            <a:r>
              <a:rPr lang="en-US" sz="800" b="0" i="0" u="none" strike="noStrike" kern="1200" dirty="0">
                <a:solidFill>
                  <a:schemeClr val="tx1"/>
                </a:solidFill>
                <a:effectLst/>
                <a:latin typeface="Segoe UI Light" pitchFamily="34" charset="0"/>
                <a:ea typeface="+mn-ea"/>
                <a:cs typeface="+mn-cs"/>
              </a:rPr>
              <a:t>The Azure Database Migration Service integrates some of the functionality of </a:t>
            </a:r>
            <a:r>
              <a:rPr lang="en-US" dirty="0"/>
              <a:t>Microsoft’s</a:t>
            </a:r>
            <a:r>
              <a:rPr lang="en-US" sz="800" b="0" i="0" u="none" strike="noStrike" kern="1200" dirty="0">
                <a:solidFill>
                  <a:schemeClr val="tx1"/>
                </a:solidFill>
                <a:effectLst/>
                <a:latin typeface="Segoe UI Light" pitchFamily="34" charset="0"/>
                <a:ea typeface="+mn-ea"/>
                <a:cs typeface="+mn-cs"/>
              </a:rPr>
              <a:t> existing tools and services. It provides customers with a comprehensive, highly available solution. The service uses the </a:t>
            </a:r>
            <a:r>
              <a:rPr lang="en-US" sz="800" b="0" i="0" u="sng" strike="noStrike" kern="1200" dirty="0">
                <a:solidFill>
                  <a:schemeClr val="tx1"/>
                </a:solidFill>
                <a:effectLst/>
                <a:latin typeface="Segoe UI Light" pitchFamily="34" charset="0"/>
                <a:ea typeface="+mn-ea"/>
                <a:cs typeface="+mn-cs"/>
                <a:hlinkClick r:id="rId3"/>
              </a:rPr>
              <a:t>Data Migration Assistant</a:t>
            </a:r>
            <a:r>
              <a:rPr lang="en-US" sz="800" b="0" i="0" u="none" strike="noStrike" kern="1200" dirty="0">
                <a:solidFill>
                  <a:schemeClr val="tx1"/>
                </a:solidFill>
                <a:effectLst/>
                <a:latin typeface="Segoe UI Light" pitchFamily="34" charset="0"/>
                <a:ea typeface="+mn-ea"/>
                <a:cs typeface="+mn-cs"/>
              </a:rPr>
              <a:t> to generate assessment reports that provide recommendations to guide you through the changes required prior to performing a migration. It's up to you to perform any remediation required. When you are ready to begin the migration process, the Azure Database Migration Service performs all of the required steps. You can fire and forget your migration projects with peace of mind, knowing that the process takes advantage of best practices as determined by Microsoft.</a:t>
            </a:r>
          </a:p>
          <a:p>
            <a:endParaRPr lang="nl-BE" dirty="0"/>
          </a:p>
          <a:p>
            <a:endParaRPr lang="nl-BE" dirty="0"/>
          </a:p>
          <a:p>
            <a:r>
              <a:rPr lang="nl-BE" dirty="0"/>
              <a:t>Different migration options</a:t>
            </a:r>
          </a:p>
          <a:p>
            <a:pPr marL="171450" indent="-171450">
              <a:buFontTx/>
              <a:buChar char="-"/>
            </a:pPr>
            <a:r>
              <a:rPr lang="nl-BE" dirty="0"/>
              <a:t>Migrate SQL Server to Azure SQL Database offline </a:t>
            </a:r>
          </a:p>
          <a:p>
            <a:pPr marL="171450" indent="-171450">
              <a:buFontTx/>
              <a:buChar char="-"/>
            </a:pPr>
            <a:r>
              <a:rPr lang="nl-BE" dirty="0"/>
              <a:t>Migrate SQL Server to Azure SQL Database online</a:t>
            </a:r>
          </a:p>
          <a:p>
            <a:pPr marL="171450" indent="-171450">
              <a:buFontTx/>
              <a:buChar char="-"/>
            </a:pPr>
            <a:r>
              <a:rPr lang="en-US" dirty="0"/>
              <a:t>Migrate SQL Server to Azure SQL Database Managed Instance offline</a:t>
            </a:r>
          </a:p>
          <a:p>
            <a:pPr marL="171450" indent="-171450">
              <a:buFontTx/>
              <a:buChar char="-"/>
            </a:pPr>
            <a:r>
              <a:rPr lang="nl-BE" dirty="0"/>
              <a:t>(Migrate MySQL to Azure Database for MySQL online) not related to this workshop</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6039909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1. Register the resource provider</a:t>
            </a:r>
          </a:p>
          <a:p>
            <a:r>
              <a:rPr lang="en-US" sz="800" b="0" i="0" u="none" strike="noStrike" kern="1200" dirty="0">
                <a:solidFill>
                  <a:schemeClr val="tx1"/>
                </a:solidFill>
                <a:effectLst/>
                <a:latin typeface="Segoe UI Light" pitchFamily="34" charset="0"/>
                <a:ea typeface="+mn-ea"/>
                <a:cs typeface="+mn-cs"/>
              </a:rPr>
              <a:t>Register the </a:t>
            </a:r>
            <a:r>
              <a:rPr lang="en-US" sz="800" b="0" i="0" u="none" strike="noStrike" kern="1200" dirty="0" err="1">
                <a:solidFill>
                  <a:schemeClr val="tx1"/>
                </a:solidFill>
                <a:effectLst/>
                <a:latin typeface="Segoe UI Light" pitchFamily="34" charset="0"/>
                <a:ea typeface="+mn-ea"/>
                <a:cs typeface="+mn-cs"/>
              </a:rPr>
              <a:t>Microsoft.DataMigration</a:t>
            </a:r>
            <a:r>
              <a:rPr lang="en-US" sz="800" b="0" i="0" u="none" strike="noStrike" kern="1200" dirty="0">
                <a:solidFill>
                  <a:schemeClr val="tx1"/>
                </a:solidFill>
                <a:effectLst/>
                <a:latin typeface="Segoe UI Light" pitchFamily="34" charset="0"/>
                <a:ea typeface="+mn-ea"/>
                <a:cs typeface="+mn-cs"/>
              </a:rPr>
              <a:t> resource provider before you create your first instance of the Database Migration Service.</a:t>
            </a:r>
          </a:p>
          <a:p>
            <a:r>
              <a:rPr lang="en-US" sz="800" b="0" i="0" u="none" strike="noStrike" kern="1200" dirty="0">
                <a:solidFill>
                  <a:schemeClr val="tx1"/>
                </a:solidFill>
                <a:effectLst/>
                <a:latin typeface="Segoe UI Light" pitchFamily="34" charset="0"/>
                <a:ea typeface="+mn-ea"/>
                <a:cs typeface="+mn-cs"/>
              </a:rPr>
              <a:t>In the Azure portal, select </a:t>
            </a:r>
            <a:r>
              <a:rPr lang="en-US" sz="800" b="1" i="0" u="none" strike="noStrike" kern="1200" dirty="0">
                <a:solidFill>
                  <a:schemeClr val="tx1"/>
                </a:solidFill>
                <a:effectLst/>
                <a:latin typeface="Segoe UI Light" pitchFamily="34" charset="0"/>
                <a:ea typeface="+mn-ea"/>
                <a:cs typeface="+mn-cs"/>
              </a:rPr>
              <a:t>All services</a:t>
            </a:r>
            <a:r>
              <a:rPr lang="en-US" sz="800" b="0" i="0" u="none" strike="noStrike" kern="1200" dirty="0">
                <a:solidFill>
                  <a:schemeClr val="tx1"/>
                </a:solidFill>
                <a:effectLst/>
                <a:latin typeface="Segoe UI Light" pitchFamily="34" charset="0"/>
                <a:ea typeface="+mn-ea"/>
                <a:cs typeface="+mn-cs"/>
              </a:rPr>
              <a:t>, and then select </a:t>
            </a:r>
            <a:r>
              <a:rPr lang="en-US" sz="800" b="1" i="0" u="none" strike="noStrike" kern="1200" dirty="0">
                <a:solidFill>
                  <a:schemeClr val="tx1"/>
                </a:solidFill>
                <a:effectLst/>
                <a:latin typeface="Segoe UI Light" pitchFamily="34" charset="0"/>
                <a:ea typeface="+mn-ea"/>
                <a:cs typeface="+mn-cs"/>
              </a:rPr>
              <a:t>Subscriptions</a:t>
            </a:r>
            <a:r>
              <a:rPr lang="en-US" sz="800" b="0" i="0" u="none" strike="noStrike" kern="1200" dirty="0">
                <a:solidFill>
                  <a:schemeClr val="tx1"/>
                </a:solidFill>
                <a:effectLst/>
                <a:latin typeface="Segoe UI Light" pitchFamily="34" charset="0"/>
                <a:ea typeface="+mn-ea"/>
                <a:cs typeface="+mn-cs"/>
              </a:rPr>
              <a:t>. Select the subscription in which you want to create the instance of the Azure Database Migration Service, and then select </a:t>
            </a:r>
            <a:r>
              <a:rPr lang="en-US" sz="800" b="1" i="0" u="none" strike="noStrike" kern="1200" dirty="0">
                <a:solidFill>
                  <a:schemeClr val="tx1"/>
                </a:solidFill>
                <a:effectLst/>
                <a:latin typeface="Segoe UI Light" pitchFamily="34" charset="0"/>
                <a:ea typeface="+mn-ea"/>
                <a:cs typeface="+mn-cs"/>
              </a:rPr>
              <a:t>Resource providers</a:t>
            </a:r>
            <a:r>
              <a:rPr lang="en-US" sz="800" b="0" i="0" u="none" strike="noStrike" kern="1200" dirty="0">
                <a:solidFill>
                  <a:schemeClr val="tx1"/>
                </a:solidFill>
                <a:effectLst/>
                <a:latin typeface="Segoe UI Light" pitchFamily="34" charset="0"/>
                <a:ea typeface="+mn-ea"/>
                <a:cs typeface="+mn-cs"/>
              </a:rPr>
              <a:t>. Search for migration, and then to the right of </a:t>
            </a:r>
            <a:r>
              <a:rPr lang="en-US" sz="800" b="1" i="0" u="none" strike="noStrike" kern="1200" dirty="0" err="1">
                <a:solidFill>
                  <a:schemeClr val="tx1"/>
                </a:solidFill>
                <a:effectLst/>
                <a:latin typeface="Segoe UI Light" pitchFamily="34" charset="0"/>
                <a:ea typeface="+mn-ea"/>
                <a:cs typeface="+mn-cs"/>
              </a:rPr>
              <a:t>Microsoft.DataMigration</a:t>
            </a:r>
            <a:r>
              <a:rPr lang="en-US" sz="800" b="0" i="0" u="none" strike="noStrike" kern="1200" dirty="0">
                <a:solidFill>
                  <a:schemeClr val="tx1"/>
                </a:solidFill>
                <a:effectLst/>
                <a:latin typeface="Segoe UI Light" pitchFamily="34" charset="0"/>
                <a:ea typeface="+mn-ea"/>
                <a:cs typeface="+mn-cs"/>
              </a:rPr>
              <a:t>, select </a:t>
            </a:r>
            <a:r>
              <a:rPr lang="en-US" sz="800" b="1" i="0" u="none" strike="noStrike" kern="1200" dirty="0">
                <a:solidFill>
                  <a:schemeClr val="tx1"/>
                </a:solidFill>
                <a:effectLst/>
                <a:latin typeface="Segoe UI Light" pitchFamily="34" charset="0"/>
                <a:ea typeface="+mn-ea"/>
                <a:cs typeface="+mn-cs"/>
              </a:rPr>
              <a:t>Register</a:t>
            </a:r>
            <a:r>
              <a:rPr lang="en-US" sz="800" b="0" i="0" u="none" strike="noStrike" kern="1200" dirty="0">
                <a:solidFill>
                  <a:schemeClr val="tx1"/>
                </a:solidFill>
                <a:effectLst/>
                <a:latin typeface="Segoe UI Light" pitchFamily="34" charset="0"/>
                <a:ea typeface="+mn-ea"/>
                <a:cs typeface="+mn-cs"/>
              </a:rPr>
              <a:t>.</a:t>
            </a:r>
          </a:p>
          <a:p>
            <a:r>
              <a:rPr lang="en-US" sz="800" b="1" i="0" u="none" strike="noStrike" kern="1200" dirty="0">
                <a:solidFill>
                  <a:schemeClr val="tx1"/>
                </a:solidFill>
                <a:effectLst/>
                <a:latin typeface="Segoe UI Light" pitchFamily="34" charset="0"/>
                <a:ea typeface="+mn-ea"/>
                <a:cs typeface="+mn-cs"/>
              </a:rPr>
              <a:t>2. Create an instance of the service</a:t>
            </a:r>
            <a:endParaRPr lang="nl-BE" dirty="0"/>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Create a resource</a:t>
            </a:r>
            <a:r>
              <a:rPr lang="en-US" sz="800" b="0" i="0" u="none" strike="noStrike" kern="1200" dirty="0">
                <a:solidFill>
                  <a:schemeClr val="tx1"/>
                </a:solidFill>
                <a:effectLst/>
                <a:latin typeface="Segoe UI Light" pitchFamily="34" charset="0"/>
                <a:ea typeface="+mn-ea"/>
                <a:cs typeface="+mn-cs"/>
              </a:rPr>
              <a:t> to create an instance of the Azure Database Migration Service. Search the marketplace for "migration", select </a:t>
            </a:r>
            <a:r>
              <a:rPr lang="en-US" sz="800" b="1" i="0" u="none" strike="noStrike" kern="1200" dirty="0">
                <a:solidFill>
                  <a:schemeClr val="tx1"/>
                </a:solidFill>
                <a:effectLst/>
                <a:latin typeface="Segoe UI Light" pitchFamily="34" charset="0"/>
                <a:ea typeface="+mn-ea"/>
                <a:cs typeface="+mn-cs"/>
              </a:rPr>
              <a:t>Azure Database Migration Service</a:t>
            </a:r>
            <a:r>
              <a:rPr lang="en-US" sz="800" b="0" i="0" u="none" strike="noStrike" kern="1200" dirty="0">
                <a:solidFill>
                  <a:schemeClr val="tx1"/>
                </a:solidFill>
                <a:effectLst/>
                <a:latin typeface="Segoe UI Light" pitchFamily="34" charset="0"/>
                <a:ea typeface="+mn-ea"/>
                <a:cs typeface="+mn-cs"/>
              </a:rPr>
              <a:t>, and then on the </a:t>
            </a:r>
            <a:r>
              <a:rPr lang="en-US" sz="800" b="1" i="0" u="none" strike="noStrike" kern="1200" dirty="0">
                <a:solidFill>
                  <a:schemeClr val="tx1"/>
                </a:solidFill>
                <a:effectLst/>
                <a:latin typeface="Segoe UI Light" pitchFamily="34" charset="0"/>
                <a:ea typeface="+mn-ea"/>
                <a:cs typeface="+mn-cs"/>
              </a:rPr>
              <a:t>Azure Database Migration Service</a:t>
            </a:r>
            <a:r>
              <a:rPr lang="en-US" sz="800" b="0" i="0" u="none" strike="noStrike" kern="1200" dirty="0">
                <a:solidFill>
                  <a:schemeClr val="tx1"/>
                </a:solidFill>
                <a:effectLst/>
                <a:latin typeface="Segoe UI Light" pitchFamily="34" charset="0"/>
                <a:ea typeface="+mn-ea"/>
                <a:cs typeface="+mn-cs"/>
              </a:rPr>
              <a:t> screen, select </a:t>
            </a:r>
            <a:r>
              <a:rPr lang="en-US" sz="800" b="1" i="0" u="none" strike="noStrike" kern="1200" dirty="0">
                <a:solidFill>
                  <a:schemeClr val="tx1"/>
                </a:solidFill>
                <a:effectLst/>
                <a:latin typeface="Segoe UI Light" pitchFamily="34" charset="0"/>
                <a:ea typeface="+mn-ea"/>
                <a:cs typeface="+mn-cs"/>
              </a:rPr>
              <a:t>Create</a:t>
            </a:r>
            <a:r>
              <a:rPr lang="en-US" sz="800" b="0" i="0" u="none" strike="noStrike" kern="1200" dirty="0">
                <a:solidFill>
                  <a:schemeClr val="tx1"/>
                </a:solidFill>
                <a:effectLst/>
                <a:latin typeface="Segoe UI Light" pitchFamily="34" charset="0"/>
                <a:ea typeface="+mn-ea"/>
                <a:cs typeface="+mn-cs"/>
              </a:rPr>
              <a:t>.</a:t>
            </a:r>
          </a:p>
          <a:p>
            <a:pPr lvl="0"/>
            <a:r>
              <a:rPr lang="en-US" sz="800" b="0" i="0" u="none" strike="noStrike" kern="1200" dirty="0">
                <a:solidFill>
                  <a:schemeClr val="tx1"/>
                </a:solidFill>
                <a:effectLst/>
                <a:latin typeface="Segoe UI Light" pitchFamily="34" charset="0"/>
                <a:ea typeface="+mn-ea"/>
                <a:cs typeface="+mn-cs"/>
              </a:rPr>
              <a:t>3. </a:t>
            </a:r>
            <a:r>
              <a:rPr lang="nl-BE" sz="800" b="1" i="0" u="none" strike="noStrike" kern="1200" dirty="0">
                <a:solidFill>
                  <a:schemeClr val="tx1"/>
                </a:solidFill>
                <a:effectLst/>
                <a:latin typeface="Segoe UI Light" pitchFamily="34" charset="0"/>
                <a:ea typeface="+mn-ea"/>
                <a:cs typeface="+mn-cs"/>
              </a:rPr>
              <a:t>Assess your on-premises database</a:t>
            </a:r>
          </a:p>
          <a:p>
            <a:pPr lvl="0"/>
            <a:r>
              <a:rPr lang="en-US" sz="800" b="0" i="0" u="none" strike="noStrike" kern="1200" dirty="0">
                <a:solidFill>
                  <a:schemeClr val="tx1"/>
                </a:solidFill>
                <a:effectLst/>
                <a:latin typeface="Segoe UI Light" pitchFamily="34" charset="0"/>
                <a:ea typeface="+mn-ea"/>
                <a:cs typeface="+mn-cs"/>
              </a:rPr>
              <a:t>Before you can migrate data from an on-premises SQL Server instance to Azure SQL Database, you need to assess the SQL Server database for any blocking issues that might prevent migration</a:t>
            </a:r>
            <a:r>
              <a:rPr lang="en-US" dirty="0"/>
              <a:t> using DMA.</a:t>
            </a:r>
            <a:endParaRPr lang="en-US" sz="800" b="0" i="0" u="none" strike="noStrike" kern="1200" dirty="0">
              <a:solidFill>
                <a:schemeClr val="tx1"/>
              </a:solidFill>
              <a:effectLst/>
              <a:latin typeface="Segoe UI Light" pitchFamily="34" charset="0"/>
              <a:ea typeface="+mn-ea"/>
              <a:cs typeface="+mn-cs"/>
            </a:endParaRPr>
          </a:p>
          <a:p>
            <a:pPr lvl="0"/>
            <a:r>
              <a:rPr lang="en-US" sz="800" b="1" i="0" u="none" strike="noStrike" kern="1200" dirty="0">
                <a:solidFill>
                  <a:schemeClr val="tx1"/>
                </a:solidFill>
                <a:effectLst/>
                <a:latin typeface="Segoe UI Light" pitchFamily="34" charset="0"/>
                <a:ea typeface="+mn-ea"/>
                <a:cs typeface="+mn-cs"/>
              </a:rPr>
              <a:t>4. </a:t>
            </a:r>
            <a:r>
              <a:rPr lang="nl-BE" sz="800" b="1" i="0" u="none" strike="noStrike" kern="1200" dirty="0">
                <a:solidFill>
                  <a:schemeClr val="tx1"/>
                </a:solidFill>
                <a:effectLst/>
                <a:latin typeface="Segoe UI Light" pitchFamily="34" charset="0"/>
                <a:ea typeface="+mn-ea"/>
                <a:cs typeface="+mn-cs"/>
              </a:rPr>
              <a:t>Migrate the sample schema</a:t>
            </a:r>
          </a:p>
          <a:p>
            <a:pPr lvl="0"/>
            <a:r>
              <a:rPr lang="en-US" sz="800" b="0" i="0" u="none" strike="noStrike" kern="1200" dirty="0">
                <a:solidFill>
                  <a:schemeClr val="tx1"/>
                </a:solidFill>
                <a:effectLst/>
                <a:latin typeface="Segoe UI Light" pitchFamily="34" charset="0"/>
                <a:ea typeface="+mn-ea"/>
                <a:cs typeface="+mn-cs"/>
              </a:rPr>
              <a:t>After you are comfortable with the assessment and satisfied that the selected database is a viable candidate for migration to Azure SQL Database, use the Data Migration Assistant to migrate the schema to Azure SQL Database.</a:t>
            </a:r>
          </a:p>
          <a:p>
            <a:r>
              <a:rPr lang="nl-BE" b="1" dirty="0"/>
              <a:t>5. </a:t>
            </a:r>
            <a:r>
              <a:rPr lang="nl-BE" sz="800" b="1" i="0" u="none" strike="noStrike" kern="1200" dirty="0">
                <a:solidFill>
                  <a:schemeClr val="tx1"/>
                </a:solidFill>
                <a:effectLst/>
                <a:latin typeface="Segoe UI Light" pitchFamily="34" charset="0"/>
                <a:ea typeface="+mn-ea"/>
                <a:cs typeface="+mn-cs"/>
              </a:rPr>
              <a:t>Create a migration project</a:t>
            </a:r>
          </a:p>
          <a:p>
            <a:r>
              <a:rPr lang="en-US" sz="800" b="0" i="0" u="none" strike="noStrike" kern="1200" dirty="0">
                <a:solidFill>
                  <a:schemeClr val="tx1"/>
                </a:solidFill>
                <a:effectLst/>
                <a:latin typeface="Segoe UI Light" pitchFamily="34" charset="0"/>
                <a:ea typeface="+mn-ea"/>
                <a:cs typeface="+mn-cs"/>
              </a:rPr>
              <a:t>After the service is created, locate it within the Azure portal, open it, and then create a new migration project.</a:t>
            </a:r>
          </a:p>
          <a:p>
            <a:r>
              <a:rPr lang="en-US" sz="800" b="0" i="0" u="none" strike="noStrike" kern="1200" dirty="0">
                <a:solidFill>
                  <a:schemeClr val="tx1"/>
                </a:solidFill>
                <a:effectLst/>
                <a:latin typeface="Segoe UI Light" pitchFamily="34" charset="0"/>
                <a:ea typeface="+mn-ea"/>
                <a:cs typeface="+mn-cs"/>
              </a:rPr>
              <a:t>In the Azure portal, select </a:t>
            </a:r>
            <a:r>
              <a:rPr lang="en-US" sz="800" b="1" i="0" u="none" strike="noStrike" kern="1200" dirty="0">
                <a:solidFill>
                  <a:schemeClr val="tx1"/>
                </a:solidFill>
                <a:effectLst/>
                <a:latin typeface="Segoe UI Light" pitchFamily="34" charset="0"/>
                <a:ea typeface="+mn-ea"/>
                <a:cs typeface="+mn-cs"/>
              </a:rPr>
              <a:t>All services</a:t>
            </a:r>
            <a:r>
              <a:rPr lang="en-US" sz="800" b="0" i="0" u="none" strike="noStrike" kern="1200" dirty="0">
                <a:solidFill>
                  <a:schemeClr val="tx1"/>
                </a:solidFill>
                <a:effectLst/>
                <a:latin typeface="Segoe UI Light" pitchFamily="34" charset="0"/>
                <a:ea typeface="+mn-ea"/>
                <a:cs typeface="+mn-cs"/>
              </a:rPr>
              <a:t>, search for Azure Database Migration Service, and then select </a:t>
            </a:r>
            <a:r>
              <a:rPr lang="en-US" sz="800" b="1" i="0" u="none" strike="noStrike" kern="1200" dirty="0">
                <a:solidFill>
                  <a:schemeClr val="tx1"/>
                </a:solidFill>
                <a:effectLst/>
                <a:latin typeface="Segoe UI Light" pitchFamily="34" charset="0"/>
                <a:ea typeface="+mn-ea"/>
                <a:cs typeface="+mn-cs"/>
              </a:rPr>
              <a:t>Azure Database Migration Services</a:t>
            </a:r>
            <a:r>
              <a:rPr lang="en-US" sz="800" b="0" i="0" u="none" strike="noStrike" kern="1200" dirty="0">
                <a:solidFill>
                  <a:schemeClr val="tx1"/>
                </a:solidFill>
                <a:effectLst/>
                <a:latin typeface="Segoe UI Light" pitchFamily="34" charset="0"/>
                <a:ea typeface="+mn-ea"/>
                <a:cs typeface="+mn-cs"/>
              </a:rPr>
              <a:t>. On the </a:t>
            </a:r>
            <a:r>
              <a:rPr lang="en-US" sz="800" b="1" i="0" u="none" strike="noStrike" kern="1200" dirty="0">
                <a:solidFill>
                  <a:schemeClr val="tx1"/>
                </a:solidFill>
                <a:effectLst/>
                <a:latin typeface="Segoe UI Light" pitchFamily="34" charset="0"/>
                <a:ea typeface="+mn-ea"/>
                <a:cs typeface="+mn-cs"/>
              </a:rPr>
              <a:t>Azure Database Migration Services</a:t>
            </a:r>
            <a:r>
              <a:rPr lang="en-US" sz="800" b="0" i="0" u="none" strike="noStrike" kern="1200" dirty="0">
                <a:solidFill>
                  <a:schemeClr val="tx1"/>
                </a:solidFill>
                <a:effectLst/>
                <a:latin typeface="Segoe UI Light" pitchFamily="34" charset="0"/>
                <a:ea typeface="+mn-ea"/>
                <a:cs typeface="+mn-cs"/>
              </a:rPr>
              <a:t> screen, search for the name of the Azure Database Migration Service instance that you created, and then select the instance. Select + </a:t>
            </a:r>
            <a:r>
              <a:rPr lang="en-US" sz="800" b="1" i="0" u="none" strike="noStrike" kern="1200" dirty="0">
                <a:solidFill>
                  <a:schemeClr val="tx1"/>
                </a:solidFill>
                <a:effectLst/>
                <a:latin typeface="Segoe UI Light" pitchFamily="34" charset="0"/>
                <a:ea typeface="+mn-ea"/>
                <a:cs typeface="+mn-cs"/>
              </a:rPr>
              <a:t>New Migration Project</a:t>
            </a:r>
            <a:r>
              <a:rPr lang="en-US" sz="800" b="0" i="0" u="none" strike="noStrike" kern="1200" dirty="0">
                <a:solidFill>
                  <a:schemeClr val="tx1"/>
                </a:solidFill>
                <a:effectLst/>
                <a:latin typeface="Segoe UI Light" pitchFamily="34" charset="0"/>
                <a:ea typeface="+mn-ea"/>
                <a:cs typeface="+mn-cs"/>
              </a:rPr>
              <a:t>.</a:t>
            </a:r>
          </a:p>
          <a:p>
            <a:r>
              <a:rPr lang="nl-BE" b="1" dirty="0"/>
              <a:t>6. Specify Source Details</a:t>
            </a:r>
          </a:p>
          <a:p>
            <a:r>
              <a:rPr lang="en-US" sz="800" b="0" i="0" u="none" strike="noStrike" kern="1200" dirty="0">
                <a:solidFill>
                  <a:schemeClr val="tx1"/>
                </a:solidFill>
                <a:effectLst/>
                <a:latin typeface="Segoe UI Light" pitchFamily="34" charset="0"/>
                <a:ea typeface="+mn-ea"/>
                <a:cs typeface="+mn-cs"/>
              </a:rPr>
              <a:t>On the </a:t>
            </a:r>
            <a:r>
              <a:rPr lang="en-US" sz="800" b="1" i="0" u="none" strike="noStrike" kern="1200" dirty="0">
                <a:solidFill>
                  <a:schemeClr val="tx1"/>
                </a:solidFill>
                <a:effectLst/>
                <a:latin typeface="Segoe UI Light" pitchFamily="34" charset="0"/>
                <a:ea typeface="+mn-ea"/>
                <a:cs typeface="+mn-cs"/>
              </a:rPr>
              <a:t>Migration source detail</a:t>
            </a:r>
            <a:r>
              <a:rPr lang="en-US" sz="800" b="0" i="0" u="none" strike="noStrike" kern="1200" dirty="0">
                <a:solidFill>
                  <a:schemeClr val="tx1"/>
                </a:solidFill>
                <a:effectLst/>
                <a:latin typeface="Segoe UI Light" pitchFamily="34" charset="0"/>
                <a:ea typeface="+mn-ea"/>
                <a:cs typeface="+mn-cs"/>
              </a:rPr>
              <a:t> screen, specify the connection details for the source SQL Server instance.</a:t>
            </a:r>
          </a:p>
          <a:p>
            <a:r>
              <a:rPr lang="en-US" sz="800" b="0" i="0" u="none" strike="noStrike" kern="1200" dirty="0">
                <a:solidFill>
                  <a:schemeClr val="tx1"/>
                </a:solidFill>
                <a:effectLst/>
                <a:latin typeface="Segoe UI Light" pitchFamily="34" charset="0"/>
                <a:ea typeface="+mn-ea"/>
                <a:cs typeface="+mn-cs"/>
              </a:rPr>
              <a:t>Make sure to use a Fully Qualified Domain Name (FQDN) for the source SQL Server instance name. You can also use the IP Address for situations in which DNS name resolution is not possible.</a:t>
            </a:r>
          </a:p>
          <a:p>
            <a:endParaRPr lang="nl-BE" b="0" dirty="0"/>
          </a:p>
          <a:p>
            <a:endParaRPr lang="nl-BE" b="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3691118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b="1" dirty="0"/>
              <a:t>1. Specify Target Details</a:t>
            </a:r>
          </a:p>
          <a:p>
            <a:pPr marL="0" indent="0">
              <a:buNone/>
            </a:pPr>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Save</a:t>
            </a:r>
            <a:r>
              <a:rPr lang="en-US" sz="800" b="0" i="0" u="none" strike="noStrike" kern="1200" dirty="0">
                <a:solidFill>
                  <a:schemeClr val="tx1"/>
                </a:solidFill>
                <a:effectLst/>
                <a:latin typeface="Segoe UI Light" pitchFamily="34" charset="0"/>
                <a:ea typeface="+mn-ea"/>
                <a:cs typeface="+mn-cs"/>
              </a:rPr>
              <a:t>, and then on the </a:t>
            </a:r>
            <a:r>
              <a:rPr lang="en-US" sz="800" b="1" i="0" u="none" strike="noStrike" kern="1200" dirty="0">
                <a:solidFill>
                  <a:schemeClr val="tx1"/>
                </a:solidFill>
                <a:effectLst/>
                <a:latin typeface="Segoe UI Light" pitchFamily="34" charset="0"/>
                <a:ea typeface="+mn-ea"/>
                <a:cs typeface="+mn-cs"/>
              </a:rPr>
              <a:t>Migration target details</a:t>
            </a:r>
            <a:r>
              <a:rPr lang="en-US" sz="800" b="0" i="0" u="none" strike="noStrike" kern="1200" dirty="0">
                <a:solidFill>
                  <a:schemeClr val="tx1"/>
                </a:solidFill>
                <a:effectLst/>
                <a:latin typeface="Segoe UI Light" pitchFamily="34" charset="0"/>
                <a:ea typeface="+mn-ea"/>
                <a:cs typeface="+mn-cs"/>
              </a:rPr>
              <a:t> screen, specify the connection details for the target Azure SQL Database Server, which is the pre-provisioned Azure SQL Database to which the </a:t>
            </a:r>
            <a:r>
              <a:rPr lang="en-US" sz="800" b="1" i="0" u="none" strike="noStrike" kern="1200" dirty="0">
                <a:solidFill>
                  <a:schemeClr val="tx1"/>
                </a:solidFill>
                <a:effectLst/>
                <a:latin typeface="Segoe UI Light" pitchFamily="34" charset="0"/>
                <a:ea typeface="+mn-ea"/>
                <a:cs typeface="+mn-cs"/>
              </a:rPr>
              <a:t>AdventureWorks2012</a:t>
            </a:r>
            <a:r>
              <a:rPr lang="en-US" sz="800" b="0" i="0" u="none" strike="noStrike" kern="1200" dirty="0">
                <a:solidFill>
                  <a:schemeClr val="tx1"/>
                </a:solidFill>
                <a:effectLst/>
                <a:latin typeface="Segoe UI Light" pitchFamily="34" charset="0"/>
                <a:ea typeface="+mn-ea"/>
                <a:cs typeface="+mn-cs"/>
              </a:rPr>
              <a:t> schema was deployed by using the Data Migration Assistant</a:t>
            </a:r>
          </a:p>
          <a:p>
            <a:pPr marL="0" indent="0">
              <a:buNone/>
            </a:pPr>
            <a:r>
              <a:rPr lang="nl-BE" b="1" dirty="0"/>
              <a:t>2. Map to Target Databases</a:t>
            </a:r>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Save</a:t>
            </a:r>
            <a:r>
              <a:rPr lang="en-US" sz="800" b="0" i="0" u="none" strike="noStrike" kern="1200" dirty="0">
                <a:solidFill>
                  <a:schemeClr val="tx1"/>
                </a:solidFill>
                <a:effectLst/>
                <a:latin typeface="Segoe UI Light" pitchFamily="34" charset="0"/>
                <a:ea typeface="+mn-ea"/>
                <a:cs typeface="+mn-cs"/>
              </a:rPr>
              <a:t>, and then on the </a:t>
            </a:r>
            <a:r>
              <a:rPr lang="en-US" sz="800" b="1" i="0" u="none" strike="noStrike" kern="1200" dirty="0">
                <a:solidFill>
                  <a:schemeClr val="tx1"/>
                </a:solidFill>
                <a:effectLst/>
                <a:latin typeface="Segoe UI Light" pitchFamily="34" charset="0"/>
                <a:ea typeface="+mn-ea"/>
                <a:cs typeface="+mn-cs"/>
              </a:rPr>
              <a:t>Map to target databases</a:t>
            </a:r>
            <a:r>
              <a:rPr lang="en-US" sz="800" b="0" i="0" u="none" strike="noStrike" kern="1200" dirty="0">
                <a:solidFill>
                  <a:schemeClr val="tx1"/>
                </a:solidFill>
                <a:effectLst/>
                <a:latin typeface="Segoe UI Light" pitchFamily="34" charset="0"/>
                <a:ea typeface="+mn-ea"/>
                <a:cs typeface="+mn-cs"/>
              </a:rPr>
              <a:t> screen, map the source and the target database for migration. If the target database contains the same database name as the source database, the Azure Database Migration Service selects the target database by default.</a:t>
            </a:r>
          </a:p>
          <a:p>
            <a:pPr marL="0" indent="0">
              <a:buNone/>
            </a:pPr>
            <a:r>
              <a:rPr lang="nl-BE" b="1" dirty="0"/>
              <a:t>3. Choose validation Option</a:t>
            </a:r>
          </a:p>
          <a:p>
            <a:pPr marL="0" indent="0">
              <a:buNone/>
            </a:pPr>
            <a:r>
              <a:rPr lang="en-US" sz="800" b="0" i="0" u="none" strike="noStrike" kern="1200" dirty="0">
                <a:solidFill>
                  <a:schemeClr val="tx1"/>
                </a:solidFill>
                <a:effectLst/>
                <a:latin typeface="Segoe UI Light" pitchFamily="34" charset="0"/>
                <a:ea typeface="+mn-ea"/>
                <a:cs typeface="+mn-cs"/>
              </a:rPr>
              <a:t>Expand the </a:t>
            </a:r>
            <a:r>
              <a:rPr lang="en-US" sz="800" b="1" i="0" u="none" strike="noStrike" kern="1200" dirty="0">
                <a:solidFill>
                  <a:schemeClr val="tx1"/>
                </a:solidFill>
                <a:effectLst/>
                <a:latin typeface="Segoe UI Light" pitchFamily="34" charset="0"/>
                <a:ea typeface="+mn-ea"/>
                <a:cs typeface="+mn-cs"/>
              </a:rPr>
              <a:t>Validation option</a:t>
            </a:r>
            <a:r>
              <a:rPr lang="en-US" sz="800" b="0" i="0" u="none" strike="noStrike" kern="1200" dirty="0">
                <a:solidFill>
                  <a:schemeClr val="tx1"/>
                </a:solidFill>
                <a:effectLst/>
                <a:latin typeface="Segoe UI Light" pitchFamily="34" charset="0"/>
                <a:ea typeface="+mn-ea"/>
                <a:cs typeface="+mn-cs"/>
              </a:rPr>
              <a:t> section to display the </a:t>
            </a:r>
            <a:r>
              <a:rPr lang="en-US" sz="800" b="1" i="0" u="none" strike="noStrike" kern="1200" dirty="0">
                <a:solidFill>
                  <a:schemeClr val="tx1"/>
                </a:solidFill>
                <a:effectLst/>
                <a:latin typeface="Segoe UI Light" pitchFamily="34" charset="0"/>
                <a:ea typeface="+mn-ea"/>
                <a:cs typeface="+mn-cs"/>
              </a:rPr>
              <a:t>Choose validation option</a:t>
            </a:r>
            <a:r>
              <a:rPr lang="en-US" sz="800" b="0" i="0" u="none" strike="noStrike" kern="1200" dirty="0">
                <a:solidFill>
                  <a:schemeClr val="tx1"/>
                </a:solidFill>
                <a:effectLst/>
                <a:latin typeface="Segoe UI Light" pitchFamily="34" charset="0"/>
                <a:ea typeface="+mn-ea"/>
                <a:cs typeface="+mn-cs"/>
              </a:rPr>
              <a:t> screen, and then specify whether to validate the migrated databases for </a:t>
            </a:r>
            <a:r>
              <a:rPr lang="en-US" sz="800" b="1" i="0" u="none" strike="noStrike" kern="1200" dirty="0">
                <a:solidFill>
                  <a:schemeClr val="tx1"/>
                </a:solidFill>
                <a:effectLst/>
                <a:latin typeface="Segoe UI Light" pitchFamily="34" charset="0"/>
                <a:ea typeface="+mn-ea"/>
                <a:cs typeface="+mn-cs"/>
              </a:rPr>
              <a:t>Schema comparison</a:t>
            </a:r>
            <a:r>
              <a:rPr lang="en-US" sz="800" b="0" i="0" u="none" strike="noStrike" kern="1200" dirty="0">
                <a:solidFill>
                  <a:schemeClr val="tx1"/>
                </a:solidFill>
                <a:effectLst/>
                <a:latin typeface="Segoe UI Light" pitchFamily="34" charset="0"/>
                <a:ea typeface="+mn-ea"/>
                <a:cs typeface="+mn-cs"/>
              </a:rPr>
              <a:t>, </a:t>
            </a:r>
            <a:r>
              <a:rPr lang="en-US" sz="800" b="1" i="0" u="none" strike="noStrike" kern="1200" dirty="0">
                <a:solidFill>
                  <a:schemeClr val="tx1"/>
                </a:solidFill>
                <a:effectLst/>
                <a:latin typeface="Segoe UI Light" pitchFamily="34" charset="0"/>
                <a:ea typeface="+mn-ea"/>
                <a:cs typeface="+mn-cs"/>
              </a:rPr>
              <a:t>Data consistency</a:t>
            </a:r>
            <a:r>
              <a:rPr lang="en-US" sz="800" b="0" i="0" u="none" strike="noStrike" kern="1200" dirty="0">
                <a:solidFill>
                  <a:schemeClr val="tx1"/>
                </a:solidFill>
                <a:effectLst/>
                <a:latin typeface="Segoe UI Light" pitchFamily="34" charset="0"/>
                <a:ea typeface="+mn-ea"/>
                <a:cs typeface="+mn-cs"/>
              </a:rPr>
              <a:t>, and </a:t>
            </a:r>
            <a:r>
              <a:rPr lang="en-US" sz="800" b="1" i="0" u="none" strike="noStrike" kern="1200" dirty="0">
                <a:solidFill>
                  <a:schemeClr val="tx1"/>
                </a:solidFill>
                <a:effectLst/>
                <a:latin typeface="Segoe UI Light" pitchFamily="34" charset="0"/>
                <a:ea typeface="+mn-ea"/>
                <a:cs typeface="+mn-cs"/>
              </a:rPr>
              <a:t>Query correctness</a:t>
            </a:r>
            <a:r>
              <a:rPr lang="en-US" sz="800" b="0" i="0" u="none" strike="noStrike" kern="1200" dirty="0">
                <a:solidFill>
                  <a:schemeClr val="tx1"/>
                </a:solidFill>
                <a:effectLst/>
                <a:latin typeface="Segoe UI Light" pitchFamily="34" charset="0"/>
                <a:ea typeface="+mn-ea"/>
                <a:cs typeface="+mn-cs"/>
              </a:rPr>
              <a:t>.</a:t>
            </a:r>
          </a:p>
          <a:p>
            <a:pPr marL="0" indent="0">
              <a:buNone/>
            </a:pPr>
            <a:r>
              <a:rPr lang="nl-BE" b="1" dirty="0"/>
              <a:t>4. Run the Migration</a:t>
            </a:r>
          </a:p>
          <a:p>
            <a:pPr marL="0" indent="0">
              <a:buNone/>
            </a:pPr>
            <a:r>
              <a:rPr lang="en-US" b="0" dirty="0"/>
              <a:t>Select Run migration. The migration activity window appears, and the Status of the activity is Pending.</a:t>
            </a:r>
          </a:p>
          <a:p>
            <a:pPr marL="0" indent="0">
              <a:buNone/>
            </a:pPr>
            <a:r>
              <a:rPr lang="en-US" b="1" dirty="0"/>
              <a:t>5. Monitor the Migration</a:t>
            </a:r>
          </a:p>
          <a:p>
            <a:r>
              <a:rPr lang="en-US" sz="800" b="0" i="0" u="none" strike="noStrike" kern="1200" dirty="0">
                <a:solidFill>
                  <a:schemeClr val="tx1"/>
                </a:solidFill>
                <a:effectLst/>
                <a:latin typeface="Segoe UI Light" pitchFamily="34" charset="0"/>
                <a:ea typeface="+mn-ea"/>
                <a:cs typeface="+mn-cs"/>
              </a:rPr>
              <a:t>On the migration activity screen, select </a:t>
            </a:r>
            <a:r>
              <a:rPr lang="en-US" sz="800" b="1" i="0" u="none" strike="noStrike" kern="1200" dirty="0">
                <a:solidFill>
                  <a:schemeClr val="tx1"/>
                </a:solidFill>
                <a:effectLst/>
                <a:latin typeface="Segoe UI Light" pitchFamily="34" charset="0"/>
                <a:ea typeface="+mn-ea"/>
                <a:cs typeface="+mn-cs"/>
              </a:rPr>
              <a:t>Refresh</a:t>
            </a:r>
            <a:r>
              <a:rPr lang="en-US" sz="800" b="0" i="0" u="none" strike="noStrike" kern="1200" dirty="0">
                <a:solidFill>
                  <a:schemeClr val="tx1"/>
                </a:solidFill>
                <a:effectLst/>
                <a:latin typeface="Segoe UI Light" pitchFamily="34" charset="0"/>
                <a:ea typeface="+mn-ea"/>
                <a:cs typeface="+mn-cs"/>
              </a:rPr>
              <a:t> to update the display until the </a:t>
            </a:r>
            <a:r>
              <a:rPr lang="en-US" sz="800" b="1" i="0" u="none" strike="noStrike" kern="1200" dirty="0">
                <a:solidFill>
                  <a:schemeClr val="tx1"/>
                </a:solidFill>
                <a:effectLst/>
                <a:latin typeface="Segoe UI Light" pitchFamily="34" charset="0"/>
                <a:ea typeface="+mn-ea"/>
                <a:cs typeface="+mn-cs"/>
              </a:rPr>
              <a:t>Status</a:t>
            </a:r>
            <a:r>
              <a:rPr lang="en-US" sz="800" b="0" i="0" u="none" strike="noStrike" kern="1200" dirty="0">
                <a:solidFill>
                  <a:schemeClr val="tx1"/>
                </a:solidFill>
                <a:effectLst/>
                <a:latin typeface="Segoe UI Light" pitchFamily="34" charset="0"/>
                <a:ea typeface="+mn-ea"/>
                <a:cs typeface="+mn-cs"/>
              </a:rPr>
              <a:t> of the migration shows as </a:t>
            </a:r>
            <a:r>
              <a:rPr lang="en-US" sz="800" b="1" i="0" u="none" strike="noStrike" kern="1200" dirty="0">
                <a:solidFill>
                  <a:schemeClr val="tx1"/>
                </a:solidFill>
                <a:effectLst/>
                <a:latin typeface="Segoe UI Light" pitchFamily="34" charset="0"/>
                <a:ea typeface="+mn-ea"/>
                <a:cs typeface="+mn-cs"/>
              </a:rPr>
              <a:t>Completed</a:t>
            </a:r>
            <a:r>
              <a:rPr lang="en-US" sz="800" b="0" i="0" u="none" strike="noStrike" kern="1200" dirty="0">
                <a:solidFill>
                  <a:schemeClr val="tx1"/>
                </a:solidFill>
                <a:effectLst/>
                <a:latin typeface="Segoe UI Light" pitchFamily="34" charset="0"/>
                <a:ea typeface="+mn-ea"/>
                <a:cs typeface="+mn-cs"/>
              </a:rPr>
              <a:t>. After the migration completes, select </a:t>
            </a:r>
            <a:r>
              <a:rPr lang="en-US" sz="800" b="1" i="0" u="none" strike="noStrike" kern="1200" dirty="0">
                <a:solidFill>
                  <a:schemeClr val="tx1"/>
                </a:solidFill>
                <a:effectLst/>
                <a:latin typeface="Segoe UI Light" pitchFamily="34" charset="0"/>
                <a:ea typeface="+mn-ea"/>
                <a:cs typeface="+mn-cs"/>
              </a:rPr>
              <a:t>Download report</a:t>
            </a:r>
            <a:r>
              <a:rPr lang="en-US" sz="800" b="0" i="0" u="none" strike="noStrike" kern="1200" dirty="0">
                <a:solidFill>
                  <a:schemeClr val="tx1"/>
                </a:solidFill>
                <a:effectLst/>
                <a:latin typeface="Segoe UI Light" pitchFamily="34" charset="0"/>
                <a:ea typeface="+mn-ea"/>
                <a:cs typeface="+mn-cs"/>
              </a:rPr>
              <a:t> to get a report listing the details associated with the migration process. Verify the target database(s) on the target Azure SQL Database server.</a:t>
            </a:r>
          </a:p>
          <a:p>
            <a:pPr marL="0" indent="0">
              <a:buNone/>
            </a:pPr>
            <a:endParaRPr lang="nl-BE" b="1"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1406396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Optimizing data transfer performance during migration</a:t>
            </a:r>
          </a:p>
          <a:p>
            <a:r>
              <a:rPr lang="en-US" sz="800" b="0" i="0" u="none" strike="noStrike" kern="1200" dirty="0">
                <a:solidFill>
                  <a:schemeClr val="tx1"/>
                </a:solidFill>
                <a:effectLst/>
                <a:latin typeface="Segoe UI Light" pitchFamily="34" charset="0"/>
                <a:ea typeface="+mn-ea"/>
                <a:cs typeface="+mn-cs"/>
              </a:rPr>
              <a:t>The following list contains recommendations for best performance during the import proces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hoose the highest service level and performance tier that your budget allows to maximize the transfer performance. You can scale down after the migration completes to save money. </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Minimize the distance between your BACPAC file and the destination data center.</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isable auto-statistics during migration</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Partition tables and indexe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rop indexed views, and recreate them once finished</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Optimize performance after the migration completes</a:t>
            </a:r>
          </a:p>
          <a:p>
            <a:r>
              <a:rPr lang="en-US" sz="800" b="0" i="0" u="sng" kern="1200" dirty="0">
                <a:solidFill>
                  <a:schemeClr val="tx1"/>
                </a:solidFill>
                <a:effectLst/>
                <a:latin typeface="Segoe UI Light" pitchFamily="34" charset="0"/>
                <a:ea typeface="+mn-ea"/>
                <a:cs typeface="+mn-cs"/>
                <a:hlinkClick r:id="rId3"/>
              </a:rPr>
              <a:t>Update statistics</a:t>
            </a:r>
            <a:r>
              <a:rPr lang="en-US" sz="800" b="0" i="0" u="none" strike="noStrike" kern="1200" dirty="0">
                <a:solidFill>
                  <a:schemeClr val="tx1"/>
                </a:solidFill>
                <a:effectLst/>
                <a:latin typeface="Segoe UI Light" pitchFamily="34" charset="0"/>
                <a:ea typeface="+mn-ea"/>
                <a:cs typeface="+mn-cs"/>
              </a:rPr>
              <a:t> with full scan after the migration is completed.</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4105515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0/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the steps and tools to migrate your database to Azure SQL Database.</a:t>
            </a:r>
            <a:endParaRPr lang="nl-BE"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6L05Demo01</a:t>
            </a:r>
          </a:p>
          <a:p>
            <a:endParaRPr lang="en-US" sz="700" b="1" dirty="0"/>
          </a:p>
          <a:p>
            <a:r>
              <a:rPr lang="en-US" sz="700" b="1" dirty="0"/>
              <a:t>Demo setup instructions – Demo1</a:t>
            </a:r>
          </a:p>
          <a:p>
            <a:pPr marL="171450" indent="-171450">
              <a:buFont typeface="Arial" panose="020B0604020202020204" pitchFamily="34" charset="0"/>
              <a:buChar char="•"/>
            </a:pPr>
            <a:r>
              <a:rPr lang="en-US" sz="700" dirty="0"/>
              <a:t>Make sure that the on-premises</a:t>
            </a:r>
            <a:r>
              <a:rPr lang="en-US" sz="700" baseline="0" dirty="0"/>
              <a:t> database pubs is compatible with Azure SQL Database. To be sure execute the script below if not done before</a:t>
            </a:r>
          </a:p>
          <a:p>
            <a:pPr marL="217261" lvl="2" indent="0">
              <a:buFontTx/>
              <a:buNone/>
            </a:pPr>
            <a:r>
              <a:rPr lang="en-US" sz="900" kern="1200" dirty="0">
                <a:solidFill>
                  <a:schemeClr val="tx1"/>
                </a:solidFill>
                <a:latin typeface="Segoe UI Light" pitchFamily="34" charset="0"/>
                <a:ea typeface="+mn-ea"/>
                <a:cs typeface="+mn-cs"/>
              </a:rPr>
              <a:t>USE pubs</a:t>
            </a:r>
          </a:p>
          <a:p>
            <a:pPr marL="217261" lvl="2" indent="0">
              <a:buFontTx/>
              <a:buNone/>
            </a:pPr>
            <a:r>
              <a:rPr lang="en-US" sz="900" kern="1200" dirty="0">
                <a:solidFill>
                  <a:schemeClr val="tx1"/>
                </a:solidFill>
                <a:latin typeface="Segoe UI Light" pitchFamily="34" charset="0"/>
                <a:ea typeface="+mn-ea"/>
                <a:cs typeface="+mn-cs"/>
              </a:rPr>
              <a:t>GO</a:t>
            </a:r>
          </a:p>
          <a:p>
            <a:pPr marL="219456" lvl="2" indent="0">
              <a:buNone/>
            </a:pPr>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VIEW</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titleview</a:t>
            </a:r>
            <a:r>
              <a:rPr lang="en-US" sz="1800" dirty="0">
                <a:solidFill>
                  <a:srgbClr val="000000"/>
                </a:solidFill>
                <a:latin typeface="Consolas" panose="020B0609020204030204" pitchFamily="49" charset="0"/>
              </a:rPr>
              <a:t>]</a:t>
            </a:r>
          </a:p>
          <a:p>
            <a:pPr marL="219456" lvl="2" indent="0">
              <a:buNone/>
            </a:pPr>
            <a:r>
              <a:rPr lang="en-US" sz="1800" dirty="0">
                <a:solidFill>
                  <a:srgbClr val="0000FF"/>
                </a:solidFill>
                <a:latin typeface="Consolas" panose="020B0609020204030204" pitchFamily="49" charset="0"/>
              </a:rPr>
              <a:t>AS</a:t>
            </a:r>
            <a:endParaRPr lang="en-US" sz="1800" dirty="0">
              <a:solidFill>
                <a:srgbClr val="000000"/>
              </a:solidFill>
              <a:latin typeface="Consolas" panose="020B0609020204030204" pitchFamily="49" charset="0"/>
            </a:endParaRPr>
          </a:p>
          <a:p>
            <a:pPr marL="219456" lvl="2" indent="0">
              <a:buNone/>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titl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u_or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u_l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ric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ytd_sale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ub_id</a:t>
            </a:r>
            <a:endParaRPr lang="en-US" sz="1800" dirty="0">
              <a:solidFill>
                <a:srgbClr val="000000"/>
              </a:solidFill>
              <a:latin typeface="Consolas" panose="020B0609020204030204" pitchFamily="49" charset="0"/>
            </a:endParaRPr>
          </a:p>
          <a:p>
            <a:pPr marL="219456" lvl="2" indent="0">
              <a:buNone/>
            </a:pP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uthors</a:t>
            </a:r>
          </a:p>
          <a:p>
            <a:pPr marL="219456" lvl="2" indent="0">
              <a:buNone/>
            </a:pP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itleauthor</a:t>
            </a:r>
            <a:endParaRPr lang="en-US" sz="1800" dirty="0">
              <a:solidFill>
                <a:srgbClr val="000000"/>
              </a:solidFill>
              <a:latin typeface="Consolas" panose="020B0609020204030204" pitchFamily="49" charset="0"/>
            </a:endParaRPr>
          </a:p>
          <a:p>
            <a:pPr marL="219456" lvl="2" indent="0">
              <a:buNone/>
            </a:pP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uthor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u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itleautho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u_id</a:t>
            </a:r>
            <a:r>
              <a:rPr lang="en-US" sz="1800" dirty="0">
                <a:solidFill>
                  <a:srgbClr val="000000"/>
                </a:solidFill>
                <a:latin typeface="Consolas" panose="020B0609020204030204" pitchFamily="49" charset="0"/>
              </a:rPr>
              <a:t> </a:t>
            </a:r>
          </a:p>
          <a:p>
            <a:pPr marL="219456" lvl="2" indent="0">
              <a:buNone/>
            </a:pP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titles</a:t>
            </a:r>
          </a:p>
          <a:p>
            <a:pPr marL="219456" lvl="2" indent="0">
              <a:buNone/>
            </a:pP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itle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title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itleautho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title_id</a:t>
            </a:r>
            <a:endParaRPr lang="en-US" sz="900" kern="1200" dirty="0">
              <a:solidFill>
                <a:schemeClr val="tx1"/>
              </a:solidFill>
              <a:latin typeface="Segoe UI Light" pitchFamily="34" charset="0"/>
              <a:ea typeface="+mn-ea"/>
              <a:cs typeface="+mn-cs"/>
            </a:endParaRPr>
          </a:p>
          <a:p>
            <a:pPr marL="217261" lvl="2" indent="0">
              <a:buFontTx/>
              <a:buNone/>
            </a:pPr>
            <a:r>
              <a:rPr lang="en-US" sz="900" kern="1200" dirty="0">
                <a:solidFill>
                  <a:schemeClr val="tx1"/>
                </a:solidFill>
                <a:latin typeface="Segoe UI Light" pitchFamily="34" charset="0"/>
                <a:ea typeface="+mn-ea"/>
                <a:cs typeface="+mn-cs"/>
              </a:rPr>
              <a:t>GO</a:t>
            </a:r>
          </a:p>
          <a:p>
            <a:endParaRPr lang="en-US" sz="900" kern="1200" dirty="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700" dirty="0"/>
              <a:t>Make sure that you have removed previous versions of the pubs database</a:t>
            </a:r>
            <a:r>
              <a:rPr lang="en-US" sz="700" baseline="0" dirty="0"/>
              <a:t> on your logical Azure Server.</a:t>
            </a:r>
          </a:p>
          <a:p>
            <a:pPr marL="171450" indent="-171450">
              <a:buFont typeface="Arial" panose="020B0604020202020204" pitchFamily="34" charset="0"/>
              <a:buChar char="•"/>
            </a:pPr>
            <a:r>
              <a:rPr lang="en-US" sz="700" baseline="0" dirty="0"/>
              <a:t>Create a new blank database “pubs” on your Logical Server in Azure</a:t>
            </a:r>
          </a:p>
          <a:p>
            <a:pPr marL="171450" indent="-171450">
              <a:buFont typeface="Arial" panose="020B0604020202020204" pitchFamily="34" charset="0"/>
              <a:buChar char="•"/>
            </a:pPr>
            <a:r>
              <a:rPr lang="en-US" sz="700" dirty="0"/>
              <a:t>The latest</a:t>
            </a:r>
            <a:r>
              <a:rPr lang="en-US" sz="700" baseline="0" dirty="0"/>
              <a:t> version of the Data Migration Assistant https://www.microsoft.com/en-us/download/details.aspx?id=53595 should be installed</a:t>
            </a:r>
          </a:p>
          <a:p>
            <a:pPr marL="171450" indent="-171450">
              <a:buFont typeface="Arial" panose="020B0604020202020204" pitchFamily="34" charset="0"/>
              <a:buChar char="•"/>
            </a:pPr>
            <a:r>
              <a:rPr lang="en-US" sz="700" baseline="0" dirty="0"/>
              <a:t>SSMS</a:t>
            </a:r>
            <a:endParaRPr lang="en-US" sz="700" dirty="0"/>
          </a:p>
          <a:p>
            <a:pPr marL="0" indent="0">
              <a:buFont typeface="Arial" panose="020B0604020202020204" pitchFamily="34" charset="0"/>
              <a:buNone/>
            </a:pPr>
            <a:r>
              <a:rPr lang="en-US" sz="700" b="1" dirty="0"/>
              <a:t>Steps</a:t>
            </a:r>
          </a:p>
          <a:p>
            <a:pPr marL="228600" indent="-228600">
              <a:buFont typeface="Arial" panose="020B0604020202020204" pitchFamily="34" charset="0"/>
              <a:buAutoNum type="arabicPeriod"/>
            </a:pPr>
            <a:r>
              <a:rPr lang="en-US" sz="700" b="0" baseline="0" dirty="0"/>
              <a:t>Open the DMA and create a new Migration Project</a:t>
            </a:r>
          </a:p>
          <a:p>
            <a:pPr marL="228600" indent="-228600">
              <a:buFont typeface="Arial" panose="020B0604020202020204" pitchFamily="34" charset="0"/>
              <a:buAutoNum type="arabicPeriod"/>
            </a:pPr>
            <a:r>
              <a:rPr lang="en-US" sz="700" b="0" baseline="0" dirty="0"/>
              <a:t>Specify the following properties or the project</a:t>
            </a:r>
          </a:p>
          <a:p>
            <a:pPr marL="445862" lvl="1" indent="-228600">
              <a:buFont typeface="+mj-lt"/>
              <a:buAutoNum type="alphaLcParenR"/>
            </a:pPr>
            <a:r>
              <a:rPr lang="en-US" sz="700" b="0" baseline="0" dirty="0"/>
              <a:t>Project Name – </a:t>
            </a:r>
            <a:r>
              <a:rPr lang="en-US" sz="700" b="0" baseline="0" dirty="0" err="1"/>
              <a:t>MigrateToAzure</a:t>
            </a:r>
            <a:endParaRPr lang="en-US" sz="700" b="0" baseline="0" dirty="0"/>
          </a:p>
          <a:p>
            <a:pPr marL="445862" lvl="1" indent="-228600">
              <a:buFont typeface="+mj-lt"/>
              <a:buAutoNum type="alphaLcParenR"/>
            </a:pPr>
            <a:r>
              <a:rPr lang="en-US" sz="700" b="0" baseline="0" dirty="0"/>
              <a:t>Source server type – SQL Server</a:t>
            </a:r>
          </a:p>
          <a:p>
            <a:pPr marL="445862" lvl="1" indent="-228600">
              <a:buFont typeface="+mj-lt"/>
              <a:buAutoNum type="alphaLcParenR"/>
            </a:pPr>
            <a:r>
              <a:rPr lang="en-US" sz="700" b="0" baseline="0" dirty="0"/>
              <a:t>Target Server type – Azure SQL Database</a:t>
            </a:r>
          </a:p>
          <a:p>
            <a:pPr marL="445862" lvl="1" indent="-228600">
              <a:buFont typeface="+mj-lt"/>
              <a:buAutoNum type="alphaLcParenR"/>
            </a:pPr>
            <a:r>
              <a:rPr lang="en-US" sz="700" b="0" baseline="0" dirty="0"/>
              <a:t>Migration Scope – Schema and data</a:t>
            </a:r>
          </a:p>
          <a:p>
            <a:pPr marL="228600" lvl="0" indent="-228600">
              <a:buFont typeface="Arial" panose="020B0604020202020204" pitchFamily="34" charset="0"/>
              <a:buAutoNum type="arabicPeriod"/>
            </a:pPr>
            <a:r>
              <a:rPr lang="en-US" sz="700" b="0" baseline="0" dirty="0"/>
              <a:t>Specify the source server. This should be your “on-prem” instance</a:t>
            </a:r>
          </a:p>
          <a:p>
            <a:pPr marL="228600" lvl="0" indent="-228600">
              <a:buFont typeface="Arial" panose="020B0604020202020204" pitchFamily="34" charset="0"/>
              <a:buAutoNum type="arabicPeriod"/>
            </a:pPr>
            <a:r>
              <a:rPr lang="en-US" sz="700" b="0" baseline="0" dirty="0"/>
              <a:t>Click connect, select the pubs database from the list and click next</a:t>
            </a:r>
          </a:p>
          <a:p>
            <a:pPr marL="228600" lvl="0" indent="-228600">
              <a:buFont typeface="Arial" panose="020B0604020202020204" pitchFamily="34" charset="0"/>
              <a:buAutoNum type="arabicPeriod"/>
            </a:pPr>
            <a:r>
              <a:rPr lang="en-US" sz="700" b="0" baseline="0" dirty="0"/>
              <a:t>Specify the target server. This should be your logical server in Azure</a:t>
            </a:r>
          </a:p>
          <a:p>
            <a:pPr marL="228600" lvl="0" indent="-228600">
              <a:buFont typeface="Arial" panose="020B0604020202020204" pitchFamily="34" charset="0"/>
              <a:buAutoNum type="arabicPeriod"/>
            </a:pPr>
            <a:r>
              <a:rPr lang="en-US" sz="700" b="0" baseline="0" dirty="0"/>
              <a:t>Fill in the SQL Server Authentication credentials, click connect and select the pubs database from the list.</a:t>
            </a:r>
          </a:p>
          <a:p>
            <a:pPr marL="228600" lvl="0" indent="-228600">
              <a:buFont typeface="Arial" panose="020B0604020202020204" pitchFamily="34" charset="0"/>
              <a:buAutoNum type="arabicPeriod"/>
            </a:pPr>
            <a:r>
              <a:rPr lang="en-US" sz="700" b="0" baseline="0" dirty="0"/>
              <a:t>In the select objects tab, you will notice that the </a:t>
            </a:r>
            <a:r>
              <a:rPr lang="en-US" sz="700" b="0" baseline="0" dirty="0" err="1"/>
              <a:t>dbo.titleview</a:t>
            </a:r>
            <a:r>
              <a:rPr lang="en-US" sz="700" b="0" baseline="0" dirty="0"/>
              <a:t> and the </a:t>
            </a:r>
            <a:r>
              <a:rPr lang="en-US" sz="700" b="0" baseline="0" dirty="0" err="1"/>
              <a:t>pub_info</a:t>
            </a:r>
            <a:r>
              <a:rPr lang="en-US" sz="700" b="0" baseline="0" dirty="0"/>
              <a:t> returns a warning. Explain to the students and press the Apply All Changes Button</a:t>
            </a:r>
          </a:p>
          <a:p>
            <a:pPr marL="228600" lvl="0" indent="-228600">
              <a:buFont typeface="Arial" panose="020B0604020202020204" pitchFamily="34" charset="0"/>
              <a:buAutoNum type="arabicPeriod"/>
            </a:pPr>
            <a:r>
              <a:rPr lang="en-US" sz="700" b="0" baseline="0" dirty="0"/>
              <a:t>Click on “Generate SQL Script”</a:t>
            </a:r>
          </a:p>
          <a:p>
            <a:pPr marL="228600" lvl="0" indent="-228600">
              <a:buFont typeface="Arial" panose="020B0604020202020204" pitchFamily="34" charset="0"/>
              <a:buAutoNum type="arabicPeriod"/>
            </a:pPr>
            <a:r>
              <a:rPr lang="en-US" sz="700" b="0" baseline="0" dirty="0"/>
              <a:t>Click on Deploy Schema to deploy the schema in your Azure SQL DB </a:t>
            </a:r>
            <a:endParaRPr lang="en-US" sz="700" b="0" baseline="0" dirty="0">
              <a:sym typeface="Wingdings" panose="05000000000000000000" pitchFamily="2" charset="2"/>
            </a:endParaRPr>
          </a:p>
          <a:p>
            <a:pPr marL="228600" lvl="0" indent="-228600">
              <a:buFont typeface="Arial" panose="020B0604020202020204" pitchFamily="34" charset="0"/>
              <a:buAutoNum type="arabicPeriod"/>
            </a:pPr>
            <a:r>
              <a:rPr lang="en-US" sz="700" b="0" baseline="0" dirty="0">
                <a:sym typeface="Wingdings" panose="05000000000000000000" pitchFamily="2" charset="2"/>
              </a:rPr>
              <a:t>Wait until the deployment is finished and review with SSMS</a:t>
            </a:r>
          </a:p>
          <a:p>
            <a:pPr marL="228600" lvl="0" indent="-228600">
              <a:buFont typeface="Arial" panose="020B0604020202020204" pitchFamily="34" charset="0"/>
              <a:buAutoNum type="arabicPeriod"/>
            </a:pPr>
            <a:r>
              <a:rPr lang="en-US" sz="700" b="0" baseline="0" dirty="0">
                <a:sym typeface="Wingdings" panose="05000000000000000000" pitchFamily="2" charset="2"/>
              </a:rPr>
              <a:t>Go back to DMA and click on Migrate Data</a:t>
            </a:r>
          </a:p>
          <a:p>
            <a:pPr marL="228600" lvl="0" indent="-228600">
              <a:buFont typeface="Arial" panose="020B0604020202020204" pitchFamily="34" charset="0"/>
              <a:buAutoNum type="arabicPeriod"/>
            </a:pPr>
            <a:r>
              <a:rPr lang="en-US" sz="700" b="0" baseline="0" dirty="0">
                <a:sym typeface="Wingdings" panose="05000000000000000000" pitchFamily="2" charset="2"/>
              </a:rPr>
              <a:t>All tables will be selected by default. Click on Start Data Migration</a:t>
            </a:r>
          </a:p>
          <a:p>
            <a:pPr marL="228600" lvl="0" indent="-228600">
              <a:buFont typeface="Arial" panose="020B0604020202020204" pitchFamily="34" charset="0"/>
              <a:buAutoNum type="arabicPeriod"/>
            </a:pPr>
            <a:r>
              <a:rPr lang="en-US" sz="700" b="0" baseline="0" dirty="0"/>
              <a:t>Review the content of the tables in your Azure SQL DB.</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700" b="0"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700" b="1" dirty="0"/>
              <a:t>Demo setup instructions – Demo2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dirty="0"/>
              <a:t>Log on to Azure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i="0" u="none" strike="noStrike" kern="1200" dirty="0">
                <a:solidFill>
                  <a:schemeClr val="tx1"/>
                </a:solidFill>
                <a:effectLst/>
                <a:latin typeface="Segoe UI Light" pitchFamily="34" charset="0"/>
                <a:ea typeface="+mn-ea"/>
                <a:cs typeface="+mn-cs"/>
              </a:rPr>
              <a:t>Register </a:t>
            </a:r>
            <a:r>
              <a:rPr lang="en-US" sz="900" b="0" i="0" u="none" strike="noStrike" kern="1200" dirty="0">
                <a:solidFill>
                  <a:schemeClr val="tx1"/>
                </a:solidFill>
                <a:effectLst/>
                <a:latin typeface="Segoe UI Light" pitchFamily="34" charset="0"/>
                <a:ea typeface="+mn-ea"/>
                <a:cs typeface="+mn-cs"/>
              </a:rPr>
              <a:t>the </a:t>
            </a:r>
            <a:r>
              <a:rPr lang="en-US" sz="900" b="0" i="0" u="none" strike="noStrike" kern="1200" dirty="0" err="1">
                <a:solidFill>
                  <a:schemeClr val="tx1"/>
                </a:solidFill>
                <a:effectLst/>
                <a:latin typeface="Segoe UI Light" pitchFamily="34" charset="0"/>
                <a:ea typeface="+mn-ea"/>
                <a:cs typeface="+mn-cs"/>
              </a:rPr>
              <a:t>Microsoft.DataMigration</a:t>
            </a:r>
            <a:r>
              <a:rPr lang="en-US" sz="900" b="0" i="0" u="none" strike="noStrike" kern="1200" dirty="0">
                <a:solidFill>
                  <a:schemeClr val="tx1"/>
                </a:solidFill>
                <a:effectLst/>
                <a:latin typeface="Segoe UI Light" pitchFamily="34" charset="0"/>
                <a:ea typeface="+mn-ea"/>
                <a:cs typeface="+mn-cs"/>
              </a:rPr>
              <a:t> </a:t>
            </a:r>
            <a:r>
              <a:rPr lang="en-US" sz="900" b="1" i="0" u="none" strike="noStrike" kern="1200" dirty="0">
                <a:solidFill>
                  <a:schemeClr val="tx1"/>
                </a:solidFill>
                <a:effectLst/>
                <a:latin typeface="Segoe UI Light" pitchFamily="34" charset="0"/>
                <a:ea typeface="+mn-ea"/>
                <a:cs typeface="+mn-cs"/>
              </a:rPr>
              <a:t>resource provider </a:t>
            </a:r>
            <a:r>
              <a:rPr lang="en-US" sz="700" b="0" dirty="0"/>
              <a:t>(if you have not done it yet)</a:t>
            </a: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r>
              <a:rPr lang="en-US" sz="900" b="0" i="0" u="none" strike="noStrike" kern="1200" dirty="0">
                <a:solidFill>
                  <a:schemeClr val="tx1"/>
                </a:solidFill>
                <a:effectLst/>
                <a:latin typeface="Segoe UI Light" pitchFamily="34" charset="0"/>
                <a:ea typeface="+mn-ea"/>
                <a:cs typeface="+mn-cs"/>
              </a:rPr>
              <a:t>In the Azure portal, select </a:t>
            </a:r>
            <a:r>
              <a:rPr lang="en-US" sz="900" b="1" i="0" u="none" strike="noStrike" kern="1200" dirty="0">
                <a:solidFill>
                  <a:schemeClr val="tx1"/>
                </a:solidFill>
                <a:effectLst/>
                <a:latin typeface="Segoe UI Light" pitchFamily="34" charset="0"/>
                <a:ea typeface="+mn-ea"/>
                <a:cs typeface="+mn-cs"/>
              </a:rPr>
              <a:t>Subscriptions</a:t>
            </a:r>
            <a:r>
              <a:rPr lang="en-US" sz="900" b="0" i="0" u="none" strike="noStrike" kern="1200" dirty="0">
                <a:solidFill>
                  <a:schemeClr val="tx1"/>
                </a:solidFill>
                <a:effectLst/>
                <a:latin typeface="Segoe UI Light" pitchFamily="34" charset="0"/>
                <a:ea typeface="+mn-ea"/>
                <a:cs typeface="+mn-cs"/>
              </a:rPr>
              <a:t>, select the subscription in which you want to create the instance of Azure Database Migration Service, and then select </a:t>
            </a:r>
            <a:r>
              <a:rPr lang="en-US" sz="900" b="1" i="0" u="none" strike="noStrike" kern="1200" dirty="0">
                <a:solidFill>
                  <a:schemeClr val="tx1"/>
                </a:solidFill>
                <a:effectLst/>
                <a:latin typeface="Segoe UI Light" pitchFamily="34" charset="0"/>
                <a:ea typeface="+mn-ea"/>
                <a:cs typeface="+mn-cs"/>
              </a:rPr>
              <a:t>Resource providers</a:t>
            </a:r>
            <a:r>
              <a:rPr lang="en-US" sz="900" b="0" i="0" u="none" strike="noStrike" kern="1200" dirty="0">
                <a:solidFill>
                  <a:schemeClr val="tx1"/>
                </a:solidFill>
                <a:effectLst/>
                <a:latin typeface="Segoe UI Light" pitchFamily="34" charset="0"/>
                <a:ea typeface="+mn-ea"/>
                <a:cs typeface="+mn-cs"/>
              </a:rPr>
              <a:t>.</a:t>
            </a: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r>
              <a:rPr lang="en-US" sz="900" b="0" i="0" u="none" strike="noStrike" kern="1200" dirty="0">
                <a:solidFill>
                  <a:schemeClr val="tx1"/>
                </a:solidFill>
                <a:effectLst/>
                <a:latin typeface="Segoe UI Light" pitchFamily="34" charset="0"/>
                <a:ea typeface="+mn-ea"/>
                <a:cs typeface="+mn-cs"/>
              </a:rPr>
              <a:t>Search for migration, and then to the right of </a:t>
            </a:r>
            <a:r>
              <a:rPr lang="en-US" sz="900" b="1" i="0" u="none" strike="noStrike" kern="1200" dirty="0" err="1">
                <a:solidFill>
                  <a:schemeClr val="tx1"/>
                </a:solidFill>
                <a:effectLst/>
                <a:latin typeface="Segoe UI Light" pitchFamily="34" charset="0"/>
                <a:ea typeface="+mn-ea"/>
                <a:cs typeface="+mn-cs"/>
              </a:rPr>
              <a:t>Microsoft.DataMigration</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Register</a:t>
            </a:r>
            <a:r>
              <a:rPr lang="en-US" sz="900" b="0" i="0" u="none" strike="noStrike" kern="1200" dirty="0">
                <a:solidFill>
                  <a:schemeClr val="tx1"/>
                </a:solidFill>
                <a:effectLst/>
                <a:latin typeface="Segoe UI Light" pitchFamily="34" charset="0"/>
                <a:ea typeface="+mn-ea"/>
                <a:cs typeface="+mn-cs"/>
              </a:rPr>
              <a: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i="0" u="none" strike="noStrike" kern="1200" dirty="0">
                <a:solidFill>
                  <a:schemeClr val="tx1"/>
                </a:solidFill>
                <a:effectLst/>
                <a:latin typeface="Segoe UI Light" pitchFamily="34" charset="0"/>
                <a:ea typeface="+mn-ea"/>
                <a:cs typeface="+mn-cs"/>
              </a:rPr>
              <a:t>Create an instance of the service</a:t>
            </a: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Create a resource</a:t>
            </a:r>
            <a:r>
              <a:rPr lang="en-US" sz="900" b="0" i="0" u="none" strike="noStrike" kern="1200" dirty="0">
                <a:solidFill>
                  <a:schemeClr val="tx1"/>
                </a:solidFill>
                <a:effectLst/>
                <a:latin typeface="Segoe UI Light" pitchFamily="34" charset="0"/>
                <a:ea typeface="+mn-ea"/>
                <a:cs typeface="+mn-cs"/>
              </a:rPr>
              <a:t> to create an instance of Azure Database Migration Service.</a:t>
            </a: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r>
              <a:rPr lang="en-US" sz="900" b="0" i="0" u="none" strike="noStrike" kern="1200" dirty="0">
                <a:solidFill>
                  <a:schemeClr val="tx1"/>
                </a:solidFill>
                <a:effectLst/>
                <a:latin typeface="Segoe UI Light" pitchFamily="34" charset="0"/>
                <a:ea typeface="+mn-ea"/>
                <a:cs typeface="+mn-cs"/>
              </a:rPr>
              <a:t>Search the marketplace for "migration", select </a:t>
            </a:r>
            <a:r>
              <a:rPr lang="en-US" sz="900" b="1" i="0" u="none" strike="noStrike" kern="1200" dirty="0">
                <a:solidFill>
                  <a:schemeClr val="tx1"/>
                </a:solidFill>
                <a:effectLst/>
                <a:latin typeface="Segoe UI Light" pitchFamily="34" charset="0"/>
                <a:ea typeface="+mn-ea"/>
                <a:cs typeface="+mn-cs"/>
              </a:rPr>
              <a:t>Azure Database Migration Service</a:t>
            </a:r>
            <a:r>
              <a:rPr lang="en-US" sz="900" b="0" i="0" u="none" strike="noStrike" kern="1200" dirty="0">
                <a:solidFill>
                  <a:schemeClr val="tx1"/>
                </a:solidFill>
                <a:effectLst/>
                <a:latin typeface="Segoe UI Light" pitchFamily="34" charset="0"/>
                <a:ea typeface="+mn-ea"/>
                <a:cs typeface="+mn-cs"/>
              </a:rPr>
              <a:t>, and then on the </a:t>
            </a:r>
            <a:r>
              <a:rPr lang="en-US" sz="900" b="1" i="0" u="none" strike="noStrike" kern="1200" dirty="0">
                <a:solidFill>
                  <a:schemeClr val="tx1"/>
                </a:solidFill>
                <a:effectLst/>
                <a:latin typeface="Segoe UI Light" pitchFamily="34" charset="0"/>
                <a:ea typeface="+mn-ea"/>
                <a:cs typeface="+mn-cs"/>
              </a:rPr>
              <a:t>Azure Database Migration Service</a:t>
            </a:r>
            <a:r>
              <a:rPr lang="en-US" sz="900" b="0" i="0" u="none" strike="noStrike" kern="1200" dirty="0">
                <a:solidFill>
                  <a:schemeClr val="tx1"/>
                </a:solidFill>
                <a:effectLst/>
                <a:latin typeface="Segoe UI Light" pitchFamily="34" charset="0"/>
                <a:ea typeface="+mn-ea"/>
                <a:cs typeface="+mn-cs"/>
              </a:rPr>
              <a:t> screen, select </a:t>
            </a:r>
            <a:r>
              <a:rPr lang="en-US" sz="900" b="1" i="0" u="none" strike="noStrike" kern="1200" dirty="0">
                <a:solidFill>
                  <a:schemeClr val="tx1"/>
                </a:solidFill>
                <a:effectLst/>
                <a:latin typeface="Segoe UI Light" pitchFamily="34" charset="0"/>
                <a:ea typeface="+mn-ea"/>
                <a:cs typeface="+mn-cs"/>
              </a:rPr>
              <a:t>Create</a:t>
            </a:r>
            <a:r>
              <a:rPr lang="en-US" sz="900" b="0" i="0" u="none" strike="noStrike" kern="1200" dirty="0">
                <a:solidFill>
                  <a:schemeClr val="tx1"/>
                </a:solidFill>
                <a:effectLst/>
                <a:latin typeface="Segoe UI Light" pitchFamily="34" charset="0"/>
                <a:ea typeface="+mn-ea"/>
                <a:cs typeface="+mn-cs"/>
              </a:rPr>
              <a:t>.</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Create Migration Service</a:t>
            </a:r>
            <a:r>
              <a:rPr lang="en-US" sz="900" b="0" i="0" u="none" strike="noStrike" kern="1200" dirty="0">
                <a:solidFill>
                  <a:schemeClr val="tx1"/>
                </a:solidFill>
                <a:effectLst/>
                <a:latin typeface="Segoe UI Light" pitchFamily="34" charset="0"/>
                <a:ea typeface="+mn-ea"/>
                <a:cs typeface="+mn-cs"/>
              </a:rPr>
              <a:t> screen:</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Choose a </a:t>
            </a:r>
            <a:r>
              <a:rPr lang="en-US" sz="900" b="1" i="0" u="none" strike="noStrike" kern="1200" dirty="0">
                <a:solidFill>
                  <a:schemeClr val="tx1"/>
                </a:solidFill>
                <a:effectLst/>
                <a:latin typeface="Segoe UI Light" pitchFamily="34" charset="0"/>
                <a:ea typeface="+mn-ea"/>
                <a:cs typeface="+mn-cs"/>
              </a:rPr>
              <a:t>Service Name</a:t>
            </a:r>
            <a:r>
              <a:rPr lang="en-US" sz="900" b="0" i="0" u="none" strike="noStrike" kern="1200" dirty="0">
                <a:solidFill>
                  <a:schemeClr val="tx1"/>
                </a:solidFill>
                <a:effectLst/>
                <a:latin typeface="Segoe UI Light" pitchFamily="34" charset="0"/>
                <a:ea typeface="+mn-ea"/>
                <a:cs typeface="+mn-cs"/>
              </a:rPr>
              <a:t> that is memorable and unique to identify your instance of Azure Database Migration Service.</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Select the Azure </a:t>
            </a:r>
            <a:r>
              <a:rPr lang="en-US" sz="900" b="1" i="0" u="none" strike="noStrike" kern="1200" dirty="0">
                <a:solidFill>
                  <a:schemeClr val="tx1"/>
                </a:solidFill>
                <a:effectLst/>
                <a:latin typeface="Segoe UI Light" pitchFamily="34" charset="0"/>
                <a:ea typeface="+mn-ea"/>
                <a:cs typeface="+mn-cs"/>
              </a:rPr>
              <a:t>Subscription</a:t>
            </a:r>
            <a:r>
              <a:rPr lang="en-US" sz="900" b="0" i="0" u="none" strike="noStrike" kern="1200" dirty="0">
                <a:solidFill>
                  <a:schemeClr val="tx1"/>
                </a:solidFill>
                <a:effectLst/>
                <a:latin typeface="Segoe UI Light" pitchFamily="34" charset="0"/>
                <a:ea typeface="+mn-ea"/>
                <a:cs typeface="+mn-cs"/>
              </a:rPr>
              <a:t> in which you want to create the instance.</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Select an existing </a:t>
            </a:r>
            <a:r>
              <a:rPr lang="en-US" sz="900" b="1" i="0" u="none" strike="noStrike" kern="1200" dirty="0">
                <a:solidFill>
                  <a:schemeClr val="tx1"/>
                </a:solidFill>
                <a:effectLst/>
                <a:latin typeface="Segoe UI Light" pitchFamily="34" charset="0"/>
                <a:ea typeface="+mn-ea"/>
                <a:cs typeface="+mn-cs"/>
              </a:rPr>
              <a:t>Resource Group</a:t>
            </a:r>
            <a:r>
              <a:rPr lang="en-US" sz="900" b="0" i="0" u="none" strike="noStrike" kern="1200" dirty="0">
                <a:solidFill>
                  <a:schemeClr val="tx1"/>
                </a:solidFill>
                <a:effectLst/>
                <a:latin typeface="Segoe UI Light" pitchFamily="34" charset="0"/>
                <a:ea typeface="+mn-ea"/>
                <a:cs typeface="+mn-cs"/>
              </a:rPr>
              <a:t> or create a new one.</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Choose the </a:t>
            </a:r>
            <a:r>
              <a:rPr lang="en-US" sz="900" b="1" i="0" u="none" strike="noStrike" kern="1200" dirty="0">
                <a:solidFill>
                  <a:schemeClr val="tx1"/>
                </a:solidFill>
                <a:effectLst/>
                <a:latin typeface="Segoe UI Light" pitchFamily="34" charset="0"/>
                <a:ea typeface="+mn-ea"/>
                <a:cs typeface="+mn-cs"/>
              </a:rPr>
              <a:t>Location</a:t>
            </a:r>
            <a:r>
              <a:rPr lang="en-US" sz="900" b="0" i="0" u="none" strike="noStrike" kern="1200" dirty="0">
                <a:solidFill>
                  <a:schemeClr val="tx1"/>
                </a:solidFill>
                <a:effectLst/>
                <a:latin typeface="Segoe UI Light" pitchFamily="34" charset="0"/>
                <a:ea typeface="+mn-ea"/>
                <a:cs typeface="+mn-cs"/>
              </a:rPr>
              <a:t> that is closest to your source or target server.</a:t>
            </a:r>
          </a:p>
          <a:p>
            <a:pPr marL="664001" lvl="3"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Note: This service is currently under preview and during </a:t>
            </a:r>
            <a:r>
              <a:rPr lang="en-US" sz="900" b="1" i="0" u="none" strike="noStrike" kern="1200" dirty="0">
                <a:solidFill>
                  <a:schemeClr val="tx1"/>
                </a:solidFill>
                <a:effectLst/>
                <a:latin typeface="Segoe UI Light" pitchFamily="34" charset="0"/>
                <a:ea typeface="+mn-ea"/>
                <a:cs typeface="+mn-cs"/>
              </a:rPr>
              <a:t>this period</a:t>
            </a:r>
            <a:r>
              <a:rPr lang="en-US" sz="900" b="0" i="0" u="none" strike="noStrike" kern="1200" dirty="0">
                <a:solidFill>
                  <a:schemeClr val="tx1"/>
                </a:solidFill>
                <a:effectLst/>
                <a:latin typeface="Segoe UI Light" pitchFamily="34" charset="0"/>
                <a:ea typeface="+mn-ea"/>
                <a:cs typeface="+mn-cs"/>
              </a:rPr>
              <a:t>, hybrid mode is supported only in the East US region. Since the hybrid worker is installed in your on-premises network, there is little or no impact on performance even if you are migrating to a target in a different region</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For </a:t>
            </a:r>
            <a:r>
              <a:rPr lang="en-US" sz="900" b="1" i="0" u="none" strike="noStrike" kern="1200" dirty="0">
                <a:solidFill>
                  <a:schemeClr val="tx1"/>
                </a:solidFill>
                <a:effectLst/>
                <a:latin typeface="Segoe UI Light" pitchFamily="34" charset="0"/>
                <a:ea typeface="+mn-ea"/>
                <a:cs typeface="+mn-cs"/>
              </a:rPr>
              <a:t>Service mode</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Hybrid (Preview)</a:t>
            </a:r>
            <a:r>
              <a:rPr lang="en-US" sz="900" b="0" i="0" u="none" strike="noStrike" kern="1200" dirty="0">
                <a:solidFill>
                  <a:schemeClr val="tx1"/>
                </a:solidFill>
                <a:effectLst/>
                <a:latin typeface="Segoe UI Light" pitchFamily="34" charset="0"/>
                <a:ea typeface="+mn-ea"/>
                <a:cs typeface="+mn-cs"/>
              </a:rPr>
              <a:t>.</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Review + create</a:t>
            </a:r>
            <a:r>
              <a:rPr lang="en-US" sz="900" b="0" i="0" u="none" strike="noStrike" kern="1200" dirty="0">
                <a:solidFill>
                  <a:schemeClr val="tx1"/>
                </a:solidFill>
                <a:effectLst/>
                <a:latin typeface="Segoe UI Light" pitchFamily="34" charset="0"/>
                <a:ea typeface="+mn-ea"/>
                <a:cs typeface="+mn-cs"/>
              </a:rPr>
              <a:t>.</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Review + create</a:t>
            </a:r>
            <a:r>
              <a:rPr lang="en-US" sz="900" b="0" i="0" u="none" strike="noStrike" kern="1200" dirty="0">
                <a:solidFill>
                  <a:schemeClr val="tx1"/>
                </a:solidFill>
                <a:effectLst/>
                <a:latin typeface="Segoe UI Light" pitchFamily="34" charset="0"/>
                <a:ea typeface="+mn-ea"/>
                <a:cs typeface="+mn-cs"/>
              </a:rPr>
              <a:t> tab, review the Terms, verify the other information provided, and then select </a:t>
            </a:r>
            <a:r>
              <a:rPr lang="en-US" sz="900" b="1" i="0" u="none" strike="noStrike" kern="1200" dirty="0">
                <a:solidFill>
                  <a:schemeClr val="tx1"/>
                </a:solidFill>
                <a:effectLst/>
                <a:latin typeface="Segoe UI Light" pitchFamily="34" charset="0"/>
                <a:ea typeface="+mn-ea"/>
                <a:cs typeface="+mn-cs"/>
              </a:rPr>
              <a:t>Create</a:t>
            </a:r>
            <a:r>
              <a:rPr lang="en-US" sz="900" b="0" i="0" u="none" strike="noStrike" kern="1200" dirty="0">
                <a:solidFill>
                  <a:schemeClr val="tx1"/>
                </a:solidFill>
                <a:effectLst/>
                <a:latin typeface="Segoe UI Light" pitchFamily="34" charset="0"/>
                <a:ea typeface="+mn-ea"/>
                <a:cs typeface="+mn-cs"/>
              </a:rPr>
              <a:t>.</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After a few moments, your instance of Azure Database Migration Service in hybrid mode is created and ready to set up. </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After the service created, select </a:t>
            </a:r>
            <a:r>
              <a:rPr lang="en-US" sz="900" b="1" i="0" u="none" strike="noStrike" kern="1200" dirty="0">
                <a:solidFill>
                  <a:schemeClr val="tx1"/>
                </a:solidFill>
                <a:effectLst/>
                <a:latin typeface="Segoe UI Light" pitchFamily="34" charset="0"/>
                <a:ea typeface="+mn-ea"/>
                <a:cs typeface="+mn-cs"/>
              </a:rPr>
              <a:t>Properties</a:t>
            </a:r>
            <a:r>
              <a:rPr lang="en-US" sz="900" b="0" i="0" u="none" strike="noStrike" kern="1200" dirty="0">
                <a:solidFill>
                  <a:schemeClr val="tx1"/>
                </a:solidFill>
                <a:effectLst/>
                <a:latin typeface="Segoe UI Light" pitchFamily="34" charset="0"/>
                <a:ea typeface="+mn-ea"/>
                <a:cs typeface="+mn-cs"/>
              </a:rPr>
              <a:t>, and then copy the value displayed in the </a:t>
            </a:r>
            <a:r>
              <a:rPr lang="en-US" sz="900" b="1" i="0" u="none" strike="noStrike" kern="1200" dirty="0">
                <a:solidFill>
                  <a:schemeClr val="tx1"/>
                </a:solidFill>
                <a:effectLst/>
                <a:latin typeface="Segoe UI Light" pitchFamily="34" charset="0"/>
                <a:ea typeface="+mn-ea"/>
                <a:cs typeface="+mn-cs"/>
              </a:rPr>
              <a:t>Resource Id</a:t>
            </a:r>
            <a:r>
              <a:rPr lang="en-US" sz="900" b="0" i="0" u="none" strike="noStrike" kern="1200" dirty="0">
                <a:solidFill>
                  <a:schemeClr val="tx1"/>
                </a:solidFill>
                <a:effectLst/>
                <a:latin typeface="Segoe UI Light" pitchFamily="34" charset="0"/>
                <a:ea typeface="+mn-ea"/>
                <a:cs typeface="+mn-cs"/>
              </a:rPr>
              <a:t> box, which you will use to install the Azure Database Migration Service hybrid worker.</a:t>
            </a:r>
          </a:p>
          <a:p>
            <a:pPr marL="228600" lvl="0" indent="-228600">
              <a:buFont typeface="+mj-lt"/>
              <a:buAutoNum type="arabicPeriod"/>
            </a:pPr>
            <a:r>
              <a:rPr lang="en-US" sz="900" b="1" i="0" u="none" strike="noStrike" kern="1200" dirty="0">
                <a:solidFill>
                  <a:schemeClr val="tx1"/>
                </a:solidFill>
                <a:effectLst/>
                <a:latin typeface="Segoe UI Light" pitchFamily="34" charset="0"/>
                <a:ea typeface="+mn-ea"/>
                <a:cs typeface="+mn-cs"/>
              </a:rPr>
              <a:t>Create Azure App registration ID</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 the Azure portal, select </a:t>
            </a:r>
            <a:r>
              <a:rPr lang="en-US" sz="900" b="1" i="0" u="none" strike="noStrike" kern="1200" dirty="0">
                <a:solidFill>
                  <a:schemeClr val="tx1"/>
                </a:solidFill>
                <a:effectLst/>
                <a:latin typeface="Segoe UI Light" pitchFamily="34" charset="0"/>
                <a:ea typeface="+mn-ea"/>
                <a:cs typeface="+mn-cs"/>
              </a:rPr>
              <a:t>Azure Active Directory</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App registrations</a:t>
            </a:r>
            <a:r>
              <a:rPr lang="en-US" sz="900" b="0" i="0" u="none" strike="noStrike" kern="1200" dirty="0">
                <a:solidFill>
                  <a:schemeClr val="tx1"/>
                </a:solidFill>
                <a:effectLst/>
                <a:latin typeface="Segoe UI Light" pitchFamily="34" charset="0"/>
                <a:ea typeface="+mn-ea"/>
                <a:cs typeface="+mn-cs"/>
              </a:rPr>
              <a:t>, and then select </a:t>
            </a:r>
            <a:r>
              <a:rPr lang="en-US" sz="900" b="1" i="0" u="none" strike="noStrike" kern="1200" dirty="0">
                <a:solidFill>
                  <a:schemeClr val="tx1"/>
                </a:solidFill>
                <a:effectLst/>
                <a:latin typeface="Segoe UI Light" pitchFamily="34" charset="0"/>
                <a:ea typeface="+mn-ea"/>
                <a:cs typeface="+mn-cs"/>
              </a:rPr>
              <a:t>New registration</a:t>
            </a:r>
            <a:r>
              <a:rPr lang="en-US" sz="900" b="0" i="0" u="none" strike="noStrike" kern="1200" dirty="0">
                <a:solidFill>
                  <a:schemeClr val="tx1"/>
                </a:solidFill>
                <a:effectLst/>
                <a:latin typeface="Segoe UI Light" pitchFamily="34" charset="0"/>
                <a:ea typeface="+mn-ea"/>
                <a:cs typeface="+mn-cs"/>
              </a:rPr>
              <a:t>.</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Specify a name for the application, and then, under </a:t>
            </a:r>
            <a:r>
              <a:rPr lang="en-US" sz="900" b="1" i="0" u="none" strike="noStrike" kern="1200" dirty="0">
                <a:solidFill>
                  <a:schemeClr val="tx1"/>
                </a:solidFill>
                <a:effectLst/>
                <a:latin typeface="Segoe UI Light" pitchFamily="34" charset="0"/>
                <a:ea typeface="+mn-ea"/>
                <a:cs typeface="+mn-cs"/>
              </a:rPr>
              <a:t>Supported account types</a:t>
            </a:r>
            <a:r>
              <a:rPr lang="en-US" sz="900" b="0" i="0" u="none" strike="noStrike" kern="1200" dirty="0">
                <a:solidFill>
                  <a:schemeClr val="tx1"/>
                </a:solidFill>
                <a:effectLst/>
                <a:latin typeface="Segoe UI Light" pitchFamily="34" charset="0"/>
                <a:ea typeface="+mn-ea"/>
                <a:cs typeface="+mn-cs"/>
              </a:rPr>
              <a:t>, select the type of accounts to support to specify who can use the application.</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Use the default values for the </a:t>
            </a:r>
            <a:r>
              <a:rPr lang="en-US" sz="900" b="1" i="0" u="none" strike="noStrike" kern="1200" dirty="0">
                <a:solidFill>
                  <a:schemeClr val="tx1"/>
                </a:solidFill>
                <a:effectLst/>
                <a:latin typeface="Segoe UI Light" pitchFamily="34" charset="0"/>
                <a:ea typeface="+mn-ea"/>
                <a:cs typeface="+mn-cs"/>
              </a:rPr>
              <a:t>Redirect URI (optional)</a:t>
            </a:r>
            <a:r>
              <a:rPr lang="en-US" sz="900" b="0" i="0" u="none" strike="noStrike" kern="1200" dirty="0">
                <a:solidFill>
                  <a:schemeClr val="tx1"/>
                </a:solidFill>
                <a:effectLst/>
                <a:latin typeface="Segoe UI Light" pitchFamily="34" charset="0"/>
                <a:ea typeface="+mn-ea"/>
                <a:cs typeface="+mn-cs"/>
              </a:rPr>
              <a:t> fields, and then select </a:t>
            </a:r>
            <a:r>
              <a:rPr lang="en-US" sz="900" b="1" i="0" u="none" strike="noStrike" kern="1200" dirty="0">
                <a:solidFill>
                  <a:schemeClr val="tx1"/>
                </a:solidFill>
                <a:effectLst/>
                <a:latin typeface="Segoe UI Light" pitchFamily="34" charset="0"/>
                <a:ea typeface="+mn-ea"/>
                <a:cs typeface="+mn-cs"/>
              </a:rPr>
              <a:t>Register</a:t>
            </a:r>
            <a:r>
              <a:rPr lang="en-US" sz="900" b="0" i="0" u="none" strike="noStrike" kern="1200" dirty="0">
                <a:solidFill>
                  <a:schemeClr val="tx1"/>
                </a:solidFill>
                <a:effectLst/>
                <a:latin typeface="Segoe UI Light" pitchFamily="34" charset="0"/>
                <a:ea typeface="+mn-ea"/>
                <a:cs typeface="+mn-cs"/>
              </a:rPr>
              <a:t>.</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After App ID registration is completed, make a note of the </a:t>
            </a:r>
            <a:r>
              <a:rPr lang="en-US" sz="900" b="1" i="0" u="none" strike="noStrike" kern="1200" dirty="0">
                <a:solidFill>
                  <a:schemeClr val="tx1"/>
                </a:solidFill>
                <a:effectLst/>
                <a:latin typeface="Segoe UI Light" pitchFamily="34" charset="0"/>
                <a:ea typeface="+mn-ea"/>
                <a:cs typeface="+mn-cs"/>
              </a:rPr>
              <a:t>Application (client) ID</a:t>
            </a:r>
            <a:r>
              <a:rPr lang="en-US" sz="900" b="0" i="0" u="none" strike="noStrike" kern="1200" dirty="0">
                <a:solidFill>
                  <a:schemeClr val="tx1"/>
                </a:solidFill>
                <a:effectLst/>
                <a:latin typeface="Segoe UI Light" pitchFamily="34" charset="0"/>
                <a:ea typeface="+mn-ea"/>
                <a:cs typeface="+mn-cs"/>
              </a:rPr>
              <a:t>, which you'll use while installing the hybrid work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 the Azure portal, navigate to Azure Database Migration Service, select </a:t>
            </a:r>
            <a:r>
              <a:rPr lang="en-US" sz="900" b="1" i="0" u="none" strike="noStrike" kern="1200" dirty="0">
                <a:solidFill>
                  <a:schemeClr val="tx1"/>
                </a:solidFill>
                <a:effectLst/>
                <a:latin typeface="Segoe UI Light" pitchFamily="34" charset="0"/>
                <a:ea typeface="+mn-ea"/>
                <a:cs typeface="+mn-cs"/>
              </a:rPr>
              <a:t>Access control (IAM)</a:t>
            </a:r>
            <a:r>
              <a:rPr lang="en-US" sz="900" b="0" i="0" u="none" strike="noStrike" kern="1200" dirty="0">
                <a:solidFill>
                  <a:schemeClr val="tx1"/>
                </a:solidFill>
                <a:effectLst/>
                <a:latin typeface="Segoe UI Light" pitchFamily="34" charset="0"/>
                <a:ea typeface="+mn-ea"/>
                <a:cs typeface="+mn-cs"/>
              </a:rPr>
              <a:t>, and then select </a:t>
            </a:r>
            <a:r>
              <a:rPr lang="en-US" sz="900" b="1" i="0" u="none" strike="noStrike" kern="1200" dirty="0">
                <a:solidFill>
                  <a:schemeClr val="tx1"/>
                </a:solidFill>
                <a:effectLst/>
                <a:latin typeface="Segoe UI Light" pitchFamily="34" charset="0"/>
                <a:ea typeface="+mn-ea"/>
                <a:cs typeface="+mn-cs"/>
              </a:rPr>
              <a:t>Add role assignment</a:t>
            </a:r>
            <a:r>
              <a:rPr lang="en-US" sz="900" b="0" i="0" u="none" strike="noStrike" kern="1200" dirty="0">
                <a:solidFill>
                  <a:schemeClr val="tx1"/>
                </a:solidFill>
                <a:effectLst/>
                <a:latin typeface="Segoe UI Light" pitchFamily="34" charset="0"/>
                <a:ea typeface="+mn-ea"/>
                <a:cs typeface="+mn-cs"/>
              </a:rPr>
              <a:t> to assign contributor access to the App ID.</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Contributor</a:t>
            </a:r>
            <a:r>
              <a:rPr lang="en-US" sz="900" b="0" i="0" u="none" strike="noStrike" kern="1200" dirty="0">
                <a:solidFill>
                  <a:schemeClr val="tx1"/>
                </a:solidFill>
                <a:effectLst/>
                <a:latin typeface="Segoe UI Light" pitchFamily="34" charset="0"/>
                <a:ea typeface="+mn-ea"/>
                <a:cs typeface="+mn-cs"/>
              </a:rPr>
              <a:t> as the role, assign access to </a:t>
            </a:r>
            <a:r>
              <a:rPr lang="en-US" sz="900" b="1" i="0" u="none" strike="noStrike" kern="1200" dirty="0">
                <a:solidFill>
                  <a:schemeClr val="tx1"/>
                </a:solidFill>
                <a:effectLst/>
                <a:latin typeface="Segoe UI Light" pitchFamily="34" charset="0"/>
                <a:ea typeface="+mn-ea"/>
                <a:cs typeface="+mn-cs"/>
              </a:rPr>
              <a:t>Azure AD user, or service principal</a:t>
            </a:r>
            <a:r>
              <a:rPr lang="en-US" sz="900" b="0" i="0" u="none" strike="noStrike" kern="1200" dirty="0">
                <a:solidFill>
                  <a:schemeClr val="tx1"/>
                </a:solidFill>
                <a:effectLst/>
                <a:latin typeface="Segoe UI Light" pitchFamily="34" charset="0"/>
                <a:ea typeface="+mn-ea"/>
                <a:cs typeface="+mn-cs"/>
              </a:rPr>
              <a:t>, and then select the App ID name.</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Save</a:t>
            </a:r>
            <a:r>
              <a:rPr lang="en-US" sz="900" b="0" i="0" u="none" strike="noStrike" kern="1200" dirty="0">
                <a:solidFill>
                  <a:schemeClr val="tx1"/>
                </a:solidFill>
                <a:effectLst/>
                <a:latin typeface="Segoe UI Light" pitchFamily="34" charset="0"/>
                <a:ea typeface="+mn-ea"/>
                <a:cs typeface="+mn-cs"/>
              </a:rPr>
              <a:t> to save the role assignment for the App ID on the Azure Database Migration Service resource.</a:t>
            </a:r>
          </a:p>
          <a:p>
            <a:pPr marL="228600" lvl="0" indent="-228600">
              <a:buFont typeface="+mj-lt"/>
              <a:buAutoNum type="arabicPeriod"/>
            </a:pPr>
            <a:r>
              <a:rPr lang="en-US" sz="900" b="1" i="0" u="none" strike="noStrike" kern="1200" dirty="0">
                <a:solidFill>
                  <a:schemeClr val="tx1"/>
                </a:solidFill>
                <a:effectLst/>
                <a:latin typeface="Segoe UI Light" pitchFamily="34" charset="0"/>
                <a:ea typeface="+mn-ea"/>
                <a:cs typeface="+mn-cs"/>
              </a:rPr>
              <a:t>Download and install the hybrid work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 the Azure portal, navigate to your instance of Azure Database Migration Service.</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Under </a:t>
            </a:r>
            <a:r>
              <a:rPr lang="en-US" sz="900" b="1" i="0" u="none" strike="noStrike" kern="1200" dirty="0">
                <a:solidFill>
                  <a:schemeClr val="tx1"/>
                </a:solidFill>
                <a:effectLst/>
                <a:latin typeface="Segoe UI Light" pitchFamily="34" charset="0"/>
                <a:ea typeface="+mn-ea"/>
                <a:cs typeface="+mn-cs"/>
              </a:rPr>
              <a:t>Settings</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Hybrid</a:t>
            </a:r>
            <a:r>
              <a:rPr lang="en-US" sz="900" b="0" i="0" u="none" strike="noStrike" kern="1200" dirty="0">
                <a:solidFill>
                  <a:schemeClr val="tx1"/>
                </a:solidFill>
                <a:effectLst/>
                <a:latin typeface="Segoe UI Light" pitchFamily="34" charset="0"/>
                <a:ea typeface="+mn-ea"/>
                <a:cs typeface="+mn-cs"/>
              </a:rPr>
              <a:t>, and then select </a:t>
            </a:r>
            <a:r>
              <a:rPr lang="en-US" sz="900" b="1" i="0" u="none" strike="noStrike" kern="1200" dirty="0">
                <a:solidFill>
                  <a:schemeClr val="tx1"/>
                </a:solidFill>
                <a:effectLst/>
                <a:latin typeface="Segoe UI Light" pitchFamily="34" charset="0"/>
                <a:ea typeface="+mn-ea"/>
                <a:cs typeface="+mn-cs"/>
              </a:rPr>
              <a:t>Installer download</a:t>
            </a:r>
            <a:r>
              <a:rPr lang="en-US" sz="900" b="0" i="0" u="none" strike="noStrike" kern="1200" dirty="0">
                <a:solidFill>
                  <a:schemeClr val="tx1"/>
                </a:solidFill>
                <a:effectLst/>
                <a:latin typeface="Segoe UI Light" pitchFamily="34" charset="0"/>
                <a:ea typeface="+mn-ea"/>
                <a:cs typeface="+mn-cs"/>
              </a:rPr>
              <a:t> to download the hybrid work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Extract the ZIP file on the server that will be hosting the Azure Database Migration Service hybrid work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 the install folder, locate and open the </a:t>
            </a:r>
            <a:r>
              <a:rPr lang="en-US" sz="900" b="1" i="0" u="none" strike="noStrike" kern="1200" dirty="0" err="1">
                <a:solidFill>
                  <a:schemeClr val="tx1"/>
                </a:solidFill>
                <a:effectLst/>
                <a:latin typeface="Segoe UI Light" pitchFamily="34" charset="0"/>
                <a:ea typeface="+mn-ea"/>
                <a:cs typeface="+mn-cs"/>
              </a:rPr>
              <a:t>dmsSettings.json</a:t>
            </a:r>
            <a:r>
              <a:rPr lang="en-US" sz="900" b="0" i="0" u="none" strike="noStrike" kern="1200" dirty="0">
                <a:solidFill>
                  <a:schemeClr val="tx1"/>
                </a:solidFill>
                <a:effectLst/>
                <a:latin typeface="Segoe UI Light" pitchFamily="34" charset="0"/>
                <a:ea typeface="+mn-ea"/>
                <a:cs typeface="+mn-cs"/>
              </a:rPr>
              <a:t> file, specify the </a:t>
            </a:r>
            <a:r>
              <a:rPr lang="en-US" sz="900" b="1" i="0" u="none" strike="noStrike" kern="1200" dirty="0" err="1">
                <a:solidFill>
                  <a:schemeClr val="tx1"/>
                </a:solidFill>
                <a:effectLst/>
                <a:latin typeface="Segoe UI Light" pitchFamily="34" charset="0"/>
                <a:ea typeface="+mn-ea"/>
                <a:cs typeface="+mn-cs"/>
              </a:rPr>
              <a:t>ApplicationId</a:t>
            </a:r>
            <a:r>
              <a:rPr lang="en-US" sz="900" b="0" i="0" u="none" strike="noStrike" kern="1200" dirty="0">
                <a:solidFill>
                  <a:schemeClr val="tx1"/>
                </a:solidFill>
                <a:effectLst/>
                <a:latin typeface="Segoe UI Light" pitchFamily="34" charset="0"/>
                <a:ea typeface="+mn-ea"/>
                <a:cs typeface="+mn-cs"/>
              </a:rPr>
              <a:t> and </a:t>
            </a:r>
            <a:r>
              <a:rPr lang="en-US" sz="900" b="1" i="0" u="none" strike="noStrike" kern="1200" dirty="0" err="1">
                <a:solidFill>
                  <a:schemeClr val="tx1"/>
                </a:solidFill>
                <a:effectLst/>
                <a:latin typeface="Segoe UI Light" pitchFamily="34" charset="0"/>
                <a:ea typeface="+mn-ea"/>
                <a:cs typeface="+mn-cs"/>
              </a:rPr>
              <a:t>resourceId</a:t>
            </a:r>
            <a:r>
              <a:rPr lang="en-US" sz="900" b="0" i="0" u="none" strike="noStrike" kern="1200" dirty="0">
                <a:solidFill>
                  <a:schemeClr val="tx1"/>
                </a:solidFill>
                <a:effectLst/>
                <a:latin typeface="Segoe UI Light" pitchFamily="34" charset="0"/>
                <a:ea typeface="+mn-ea"/>
                <a:cs typeface="+mn-cs"/>
              </a:rPr>
              <a:t>, and then and save the file.</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Generate a certificate that Azure Database Migration Service can use to authenticate the communication from the hybrid work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Open CMD with admin rights &gt; navigate to the install folder (the folder you have extracted the content of the ZIP file) &gt; run the following command </a:t>
            </a:r>
            <a:r>
              <a:rPr lang="en-US" sz="900" b="1" i="0" u="none" strike="noStrike" kern="1200" dirty="0">
                <a:solidFill>
                  <a:schemeClr val="tx1"/>
                </a:solidFill>
                <a:effectLst/>
                <a:latin typeface="Segoe UI Light" pitchFamily="34" charset="0"/>
                <a:ea typeface="+mn-ea"/>
                <a:cs typeface="+mn-cs"/>
              </a:rPr>
              <a:t>DMSWorkerBootstrap.exe -a </a:t>
            </a:r>
            <a:r>
              <a:rPr lang="en-US" sz="900" b="1" i="0" u="none" strike="noStrike" kern="1200" dirty="0" err="1">
                <a:solidFill>
                  <a:schemeClr val="tx1"/>
                </a:solidFill>
                <a:effectLst/>
                <a:latin typeface="Segoe UI Light" pitchFamily="34" charset="0"/>
                <a:ea typeface="+mn-ea"/>
                <a:cs typeface="+mn-cs"/>
              </a:rPr>
              <a:t>GenerateCert</a:t>
            </a:r>
            <a:endParaRPr lang="en-US" sz="900" b="1" i="0" u="none" strike="noStrike" kern="1200" dirty="0">
              <a:solidFill>
                <a:schemeClr val="tx1"/>
              </a:solidFill>
              <a:effectLst/>
              <a:latin typeface="Segoe UI Light" pitchFamily="34" charset="0"/>
              <a:ea typeface="+mn-ea"/>
              <a:cs typeface="+mn-cs"/>
            </a:endParaRP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Note: Check if the certificate is generated in the Install fold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 the Azure portal, navigate to the App ID, under </a:t>
            </a:r>
            <a:r>
              <a:rPr lang="en-US" sz="900" b="1" i="0" u="none" strike="noStrike" kern="1200" dirty="0">
                <a:solidFill>
                  <a:schemeClr val="tx1"/>
                </a:solidFill>
                <a:effectLst/>
                <a:latin typeface="Segoe UI Light" pitchFamily="34" charset="0"/>
                <a:ea typeface="+mn-ea"/>
                <a:cs typeface="+mn-cs"/>
              </a:rPr>
              <a:t>Manage</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Certificated &amp; secrets</a:t>
            </a:r>
            <a:r>
              <a:rPr lang="en-US" sz="900" b="0" i="0" u="none" strike="noStrike" kern="1200" dirty="0">
                <a:solidFill>
                  <a:schemeClr val="tx1"/>
                </a:solidFill>
                <a:effectLst/>
                <a:latin typeface="Segoe UI Light" pitchFamily="34" charset="0"/>
                <a:ea typeface="+mn-ea"/>
                <a:cs typeface="+mn-cs"/>
              </a:rPr>
              <a:t>, and then select </a:t>
            </a:r>
            <a:r>
              <a:rPr lang="en-US" sz="900" b="1" i="0" u="none" strike="noStrike" kern="1200" dirty="0">
                <a:solidFill>
                  <a:schemeClr val="tx1"/>
                </a:solidFill>
                <a:effectLst/>
                <a:latin typeface="Segoe UI Light" pitchFamily="34" charset="0"/>
                <a:ea typeface="+mn-ea"/>
                <a:cs typeface="+mn-cs"/>
              </a:rPr>
              <a:t>Upload certificate</a:t>
            </a:r>
            <a:r>
              <a:rPr lang="en-US" sz="900" b="0" i="0" u="none" strike="noStrike" kern="1200" dirty="0">
                <a:solidFill>
                  <a:schemeClr val="tx1"/>
                </a:solidFill>
                <a:effectLst/>
                <a:latin typeface="Segoe UI Light" pitchFamily="34" charset="0"/>
                <a:ea typeface="+mn-ea"/>
                <a:cs typeface="+mn-cs"/>
              </a:rPr>
              <a:t> to select the public certificate you just generated.</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nstall the Azure Database Migration Service hybrid worker on your on-premises server.</a:t>
            </a: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Open CMD with admin rights &gt; navigate to the install folder (the folder you have extracted the content of the ZIP file) &gt; run the following command </a:t>
            </a:r>
            <a:r>
              <a:rPr lang="en-US" sz="900" b="1" i="0" u="none" strike="noStrike" kern="1200" dirty="0">
                <a:solidFill>
                  <a:schemeClr val="tx1"/>
                </a:solidFill>
                <a:effectLst/>
                <a:latin typeface="Segoe UI Light" pitchFamily="34" charset="0"/>
                <a:ea typeface="+mn-ea"/>
                <a:cs typeface="+mn-cs"/>
              </a:rPr>
              <a:t>DMSWorkerBootstrap.exe -a Install –</a:t>
            </a:r>
            <a:r>
              <a:rPr lang="en-US" sz="900" b="1" i="0" u="none" strike="noStrike" kern="1200" dirty="0" err="1">
                <a:solidFill>
                  <a:schemeClr val="tx1"/>
                </a:solidFill>
                <a:effectLst/>
                <a:latin typeface="Segoe UI Light" pitchFamily="34" charset="0"/>
                <a:ea typeface="+mn-ea"/>
                <a:cs typeface="+mn-cs"/>
              </a:rPr>
              <a:t>IAcceptDMSLicenseTerms</a:t>
            </a:r>
            <a:endParaRPr lang="en-US" sz="900" b="1" i="0" u="none" strike="noStrike" kern="1200" dirty="0">
              <a:solidFill>
                <a:schemeClr val="tx1"/>
              </a:solidFill>
              <a:effectLst/>
              <a:latin typeface="Segoe UI Light" pitchFamily="34" charset="0"/>
              <a:ea typeface="+mn-ea"/>
              <a:cs typeface="+mn-cs"/>
            </a:endParaRPr>
          </a:p>
          <a:p>
            <a:pPr marL="445862" lvl="1" indent="-228600">
              <a:buFont typeface="+mj-lt"/>
              <a:buAutoNum type="alphaLcPeriod"/>
            </a:pPr>
            <a:r>
              <a:rPr lang="en-US" sz="900" b="0" i="0" u="none" strike="noStrike" kern="1200" dirty="0">
                <a:solidFill>
                  <a:schemeClr val="tx1"/>
                </a:solidFill>
                <a:effectLst/>
                <a:latin typeface="Segoe UI Light" pitchFamily="34" charset="0"/>
                <a:ea typeface="+mn-ea"/>
                <a:cs typeface="+mn-cs"/>
              </a:rPr>
              <a:t>If the installer runs without error, then the service will show an online status in Azure Database Migration Service and you're ready to migrate your databases.</a:t>
            </a:r>
            <a:endParaRPr lang="en-US" sz="900" b="1" i="0" u="none" strike="noStrike" kern="1200" dirty="0">
              <a:solidFill>
                <a:schemeClr val="tx1"/>
              </a:solidFill>
              <a:effectLst/>
              <a:latin typeface="Segoe UI Light" pitchFamily="34" charset="0"/>
              <a:ea typeface="+mn-ea"/>
              <a:cs typeface="+mn-cs"/>
            </a:endParaRPr>
          </a:p>
          <a:p>
            <a:pPr marL="0" lvl="0" indent="0">
              <a:buFont typeface="+mj-lt"/>
              <a:buNone/>
            </a:pPr>
            <a:r>
              <a:rPr lang="en-US" sz="900" b="0" i="0" u="none" strike="noStrike" kern="1200" dirty="0">
                <a:solidFill>
                  <a:schemeClr val="tx1"/>
                </a:solidFill>
                <a:effectLst/>
                <a:latin typeface="Segoe UI Light" pitchFamily="34" charset="0"/>
                <a:ea typeface="+mn-ea"/>
                <a:cs typeface="+mn-cs"/>
              </a:rPr>
              <a:t>More details can be found here: https://docs.microsoft.com/en-us/azure/dms/quickstart-create-data-migration-service-hybrid-portal</a:t>
            </a:r>
          </a:p>
          <a:p>
            <a:pPr marL="0" lvl="0" indent="0">
              <a:buFont typeface="+mj-lt"/>
              <a:buNone/>
            </a:pPr>
            <a:endParaRPr lang="en-US" sz="900" b="0" i="0" u="none" strike="noStrike" kern="1200" dirty="0">
              <a:solidFill>
                <a:schemeClr val="tx1"/>
              </a:solidFill>
              <a:effectLst/>
              <a:latin typeface="Segoe UI Light" pitchFamily="34" charset="0"/>
              <a:ea typeface="+mn-ea"/>
              <a:cs typeface="+mn-cs"/>
            </a:endParaRP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endParaRPr lang="en-US" sz="900" b="0" i="0" u="none" strike="noStrike" kern="1200" dirty="0">
              <a:solidFill>
                <a:schemeClr val="tx1"/>
              </a:solidFill>
              <a:effectLst/>
              <a:latin typeface="Segoe UI Light" pitchFamily="34" charset="0"/>
              <a:ea typeface="+mn-ea"/>
              <a:cs typeface="+mn-cs"/>
            </a:endParaRPr>
          </a:p>
          <a:p>
            <a:pPr marL="445862" marR="0" lvl="1" indent="-228600" algn="l" defTabSz="932742" rtl="0" eaLnBrk="1" fontAlgn="auto" latinLnBrk="0" hangingPunct="1">
              <a:lnSpc>
                <a:spcPct val="90000"/>
              </a:lnSpc>
              <a:spcBef>
                <a:spcPts val="0"/>
              </a:spcBef>
              <a:spcAft>
                <a:spcPts val="340"/>
              </a:spcAft>
              <a:buClrTx/>
              <a:buSzTx/>
              <a:buFont typeface="+mj-lt"/>
              <a:buAutoNum type="alphaLcPeriod"/>
              <a:tabLst/>
              <a:defRPr/>
            </a:pPr>
            <a:endParaRPr lang="en-US" sz="700" b="0" baseline="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573047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6L05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9167351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Q1:</a:t>
            </a:r>
            <a:r>
              <a:rPr lang="en-US" sz="900" dirty="0">
                <a:solidFill>
                  <a:srgbClr val="FFFFFF"/>
                </a:solidFill>
              </a:rPr>
              <a:t>What are the different migration methods that you can use to migrate your on-premises database to Azure SQL Database?</a:t>
            </a:r>
            <a:endParaRPr lang="en-US" sz="900" dirty="0"/>
          </a:p>
          <a:p>
            <a:r>
              <a:rPr lang="en-US" baseline="0" dirty="0"/>
              <a:t>Answer 1:</a:t>
            </a:r>
          </a:p>
          <a:p>
            <a:pPr marL="171450" indent="-171450">
              <a:buFont typeface="Arial" panose="020B0604020202020204" pitchFamily="34" charset="0"/>
              <a:buChar char="•"/>
            </a:pPr>
            <a:r>
              <a:rPr lang="en-US" b="1" dirty="0"/>
              <a:t>DMA</a:t>
            </a:r>
          </a:p>
          <a:p>
            <a:pPr marL="171450" indent="-171450">
              <a:buFont typeface="Arial" panose="020B0604020202020204" pitchFamily="34" charset="0"/>
              <a:buChar char="•"/>
            </a:pPr>
            <a:r>
              <a:rPr lang="en-US" b="1" dirty="0"/>
              <a:t>Use BACPAC and BCP together</a:t>
            </a:r>
          </a:p>
          <a:p>
            <a:pPr marL="171450" indent="-171450">
              <a:buFont typeface="Arial" panose="020B0604020202020204" pitchFamily="34" charset="0"/>
              <a:buChar char="•"/>
            </a:pPr>
            <a:r>
              <a:rPr lang="en-US" b="1" dirty="0"/>
              <a:t>Transactional Replication</a:t>
            </a:r>
          </a:p>
          <a:p>
            <a:pPr marL="171450" indent="-171450">
              <a:buFont typeface="Arial" panose="020B0604020202020204" pitchFamily="34" charset="0"/>
              <a:buChar char="•"/>
            </a:pPr>
            <a:r>
              <a:rPr lang="en-US" b="1" dirty="0"/>
              <a:t>DMS</a:t>
            </a:r>
          </a:p>
          <a:p>
            <a:pPr marL="171450" indent="-171450">
              <a:buFont typeface="Arial" panose="020B0604020202020204" pitchFamily="34" charset="0"/>
              <a:buChar char="•"/>
            </a:pPr>
            <a:endParaRPr lang="en-US" dirty="0"/>
          </a:p>
          <a:p>
            <a:pPr marL="0" lvl="0" indent="0" algn="l" defTabSz="933450">
              <a:lnSpc>
                <a:spcPct val="90000"/>
              </a:lnSpc>
              <a:spcBef>
                <a:spcPct val="0"/>
              </a:spcBef>
              <a:spcAft>
                <a:spcPct val="35000"/>
              </a:spcAft>
              <a:buNone/>
            </a:pPr>
            <a:r>
              <a:rPr lang="en-US" sz="900" dirty="0">
                <a:solidFill>
                  <a:srgbClr val="FFFFFF"/>
                </a:solidFill>
              </a:rPr>
              <a:t>Q2: </a:t>
            </a:r>
            <a:r>
              <a:rPr lang="en-US" sz="900" dirty="0"/>
              <a:t>How is the </a:t>
            </a:r>
            <a:r>
              <a:rPr lang="en-US" sz="900" kern="1200" dirty="0"/>
              <a:t>fully managed service designed to enable seamless migrations called?</a:t>
            </a:r>
            <a:endParaRPr lang="en-IN" sz="900" kern="1200" dirty="0"/>
          </a:p>
          <a:p>
            <a:r>
              <a:rPr lang="en-US" baseline="0" dirty="0"/>
              <a:t>Answer 2: </a:t>
            </a:r>
          </a:p>
          <a:p>
            <a:pPr marL="171450" indent="-171450">
              <a:buFont typeface="Arial" panose="020B0604020202020204" pitchFamily="34" charset="0"/>
              <a:buChar char="•"/>
            </a:pPr>
            <a:r>
              <a:rPr lang="en-US" b="1" baseline="0" dirty="0"/>
              <a:t>DMS </a:t>
            </a:r>
          </a:p>
          <a:p>
            <a:endParaRPr lang="en-US" baseline="0" dirty="0"/>
          </a:p>
          <a:p>
            <a:pPr marL="0" lvl="0" indent="0" algn="l" defTabSz="933450">
              <a:lnSpc>
                <a:spcPct val="90000"/>
              </a:lnSpc>
              <a:spcBef>
                <a:spcPct val="0"/>
              </a:spcBef>
              <a:spcAft>
                <a:spcPct val="35000"/>
              </a:spcAft>
              <a:buNone/>
            </a:pPr>
            <a:r>
              <a:rPr lang="en-US" sz="900" dirty="0">
                <a:solidFill>
                  <a:srgbClr val="FFFFFF"/>
                </a:solidFill>
              </a:rPr>
              <a:t>Q3: </a:t>
            </a:r>
            <a:r>
              <a:rPr lang="en-US" sz="900" kern="1200" dirty="0">
                <a:solidFill>
                  <a:srgbClr val="FFFFFF"/>
                </a:solidFill>
              </a:rPr>
              <a:t>“I want to migrate my on-premises database to Azure SQL Database. The migration downtime can only be a few minutes. Which migration method should I use?”</a:t>
            </a:r>
            <a:endParaRPr lang="en-US" sz="900" kern="1200" baseline="0" dirty="0">
              <a:latin typeface="+mn-lt"/>
              <a:ea typeface="+mn-ea"/>
              <a:cs typeface="+mn-cs"/>
            </a:endParaRPr>
          </a:p>
          <a:p>
            <a:r>
              <a:rPr lang="en-US" baseline="0" dirty="0"/>
              <a:t>Answer 3: </a:t>
            </a:r>
          </a:p>
          <a:p>
            <a:pPr marL="171450" indent="-171450">
              <a:buFont typeface="Arial" panose="020B0604020202020204" pitchFamily="34" charset="0"/>
              <a:buChar char="•"/>
            </a:pPr>
            <a:r>
              <a:rPr lang="en-US" b="1" baseline="0" dirty="0"/>
              <a:t>DMS online</a:t>
            </a:r>
          </a:p>
          <a:p>
            <a:pPr marL="171450" indent="-171450">
              <a:buFont typeface="Arial" panose="020B0604020202020204" pitchFamily="34" charset="0"/>
              <a:buChar char="•"/>
            </a:pPr>
            <a:r>
              <a:rPr lang="en-US" b="1" baseline="0" dirty="0"/>
              <a:t>Transaction Replication</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dirty="0"/>
              <a:t>This lesson describes the Data Sync feature of Azure SQL Databas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29203605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dirty="0"/>
              <a:t>This lesson describes the Data Sync feature of Azure SQL Database.</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ata Sync is based around the concept of a Sync Group. A Sync Group is a group of databases that you want to synchroniz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ata Sync uses a </a:t>
            </a:r>
            <a:r>
              <a:rPr lang="en-US" sz="800" b="1" i="0" u="none" strike="noStrike" kern="1200" dirty="0">
                <a:solidFill>
                  <a:schemeClr val="tx1"/>
                </a:solidFill>
                <a:effectLst/>
                <a:latin typeface="Segoe UI Light" pitchFamily="34" charset="0"/>
                <a:ea typeface="+mn-ea"/>
                <a:cs typeface="+mn-cs"/>
              </a:rPr>
              <a:t>hub</a:t>
            </a:r>
            <a:r>
              <a:rPr lang="en-US" sz="800" b="0" i="0" u="none" strike="noStrike" kern="1200" dirty="0">
                <a:solidFill>
                  <a:schemeClr val="tx1"/>
                </a:solidFill>
                <a:effectLst/>
                <a:latin typeface="Segoe UI Light" pitchFamily="34" charset="0"/>
                <a:ea typeface="+mn-ea"/>
                <a:cs typeface="+mn-cs"/>
              </a:rPr>
              <a:t> and </a:t>
            </a:r>
            <a:r>
              <a:rPr lang="en-US" sz="800" b="1" i="0" u="none" strike="noStrike" kern="1200" dirty="0">
                <a:solidFill>
                  <a:schemeClr val="tx1"/>
                </a:solidFill>
                <a:effectLst/>
                <a:latin typeface="Segoe UI Light" pitchFamily="34" charset="0"/>
                <a:ea typeface="+mn-ea"/>
                <a:cs typeface="+mn-cs"/>
              </a:rPr>
              <a:t>spoke</a:t>
            </a:r>
            <a:r>
              <a:rPr lang="en-US" sz="800" b="0" i="0" u="none" strike="noStrike" kern="1200" dirty="0">
                <a:solidFill>
                  <a:schemeClr val="tx1"/>
                </a:solidFill>
                <a:effectLst/>
                <a:latin typeface="Segoe UI Light" pitchFamily="34" charset="0"/>
                <a:ea typeface="+mn-ea"/>
                <a:cs typeface="+mn-cs"/>
              </a:rPr>
              <a:t> </a:t>
            </a:r>
            <a:r>
              <a:rPr lang="en-US" sz="800" b="1" i="0" u="none" strike="noStrike" kern="1200" dirty="0">
                <a:solidFill>
                  <a:schemeClr val="tx1"/>
                </a:solidFill>
                <a:effectLst/>
                <a:latin typeface="Segoe UI Light" pitchFamily="34" charset="0"/>
                <a:ea typeface="+mn-ea"/>
                <a:cs typeface="+mn-cs"/>
              </a:rPr>
              <a:t>topology</a:t>
            </a:r>
            <a:r>
              <a:rPr lang="en-US" sz="800" b="0" i="0" u="none" strike="noStrike" kern="1200" dirty="0">
                <a:solidFill>
                  <a:schemeClr val="tx1"/>
                </a:solidFill>
                <a:effectLst/>
                <a:latin typeface="Segoe UI Light" pitchFamily="34" charset="0"/>
                <a:ea typeface="+mn-ea"/>
                <a:cs typeface="+mn-cs"/>
              </a:rPr>
              <a:t> to synchronize data. You define one of the databases in the sync group as the </a:t>
            </a:r>
            <a:r>
              <a:rPr lang="en-US" sz="800" b="1" i="0" u="none" strike="noStrike" kern="1200" dirty="0">
                <a:solidFill>
                  <a:schemeClr val="tx1"/>
                </a:solidFill>
                <a:effectLst/>
                <a:latin typeface="Segoe UI Light" pitchFamily="34" charset="0"/>
                <a:ea typeface="+mn-ea"/>
                <a:cs typeface="+mn-cs"/>
              </a:rPr>
              <a:t>Hub Database </a:t>
            </a:r>
            <a:r>
              <a:rPr lang="en-US" sz="800" b="0" i="0" u="none" strike="noStrike" kern="1200" dirty="0">
                <a:solidFill>
                  <a:schemeClr val="tx1"/>
                </a:solidFill>
                <a:effectLst/>
                <a:latin typeface="Segoe UI Light" pitchFamily="34" charset="0"/>
                <a:ea typeface="+mn-ea"/>
                <a:cs typeface="+mn-cs"/>
              </a:rPr>
              <a:t>(must be an </a:t>
            </a:r>
            <a:r>
              <a:rPr lang="en-US" sz="800" b="1" i="0" u="none" strike="noStrike" kern="1200" dirty="0">
                <a:solidFill>
                  <a:schemeClr val="tx1"/>
                </a:solidFill>
                <a:effectLst/>
                <a:latin typeface="Segoe UI Light" pitchFamily="34" charset="0"/>
                <a:ea typeface="+mn-ea"/>
                <a:cs typeface="+mn-cs"/>
              </a:rPr>
              <a:t>Azure SQL Database</a:t>
            </a:r>
            <a:r>
              <a:rPr lang="en-US" sz="800" b="0" i="0" u="none" strike="noStrike" kern="1200" dirty="0">
                <a:solidFill>
                  <a:schemeClr val="tx1"/>
                </a:solidFill>
                <a:effectLst/>
                <a:latin typeface="Segoe UI Light" pitchFamily="34" charset="0"/>
                <a:ea typeface="+mn-ea"/>
                <a:cs typeface="+mn-cs"/>
              </a:rPr>
              <a:t>). The rest of the databases are </a:t>
            </a:r>
            <a:r>
              <a:rPr lang="en-US" sz="800" b="1" i="0" u="none" strike="noStrike" kern="1200" dirty="0">
                <a:solidFill>
                  <a:schemeClr val="tx1"/>
                </a:solidFill>
                <a:effectLst/>
                <a:latin typeface="Segoe UI Light" pitchFamily="34" charset="0"/>
                <a:ea typeface="+mn-ea"/>
                <a:cs typeface="+mn-cs"/>
              </a:rPr>
              <a:t>member databases </a:t>
            </a:r>
            <a:r>
              <a:rPr lang="en-US" sz="800" b="0" i="0" u="none" strike="noStrike" kern="1200" dirty="0">
                <a:solidFill>
                  <a:schemeClr val="tx1"/>
                </a:solidFill>
                <a:effectLst/>
                <a:latin typeface="Segoe UI Light" pitchFamily="34" charset="0"/>
                <a:ea typeface="+mn-ea"/>
                <a:cs typeface="+mn-cs"/>
              </a:rPr>
              <a:t>(</a:t>
            </a:r>
            <a:r>
              <a:rPr lang="es-ES" sz="800" b="0" i="0" u="none" strike="noStrike" kern="1200" dirty="0" err="1">
                <a:solidFill>
                  <a:schemeClr val="tx1"/>
                </a:solidFill>
                <a:effectLst/>
                <a:latin typeface="Segoe UI Light" pitchFamily="34" charset="0"/>
                <a:ea typeface="+mn-ea"/>
                <a:cs typeface="+mn-cs"/>
              </a:rPr>
              <a:t>either</a:t>
            </a:r>
            <a:r>
              <a:rPr lang="es-ES" sz="800" b="0" i="0" u="none" strike="noStrike" kern="1200" dirty="0">
                <a:solidFill>
                  <a:schemeClr val="tx1"/>
                </a:solidFill>
                <a:effectLst/>
                <a:latin typeface="Segoe UI Light" pitchFamily="34" charset="0"/>
                <a:ea typeface="+mn-ea"/>
                <a:cs typeface="+mn-cs"/>
              </a:rPr>
              <a:t> </a:t>
            </a:r>
            <a:r>
              <a:rPr lang="es-ES" sz="800" b="1" i="0" u="none" strike="noStrike" kern="1200" dirty="0">
                <a:solidFill>
                  <a:schemeClr val="tx1"/>
                </a:solidFill>
                <a:effectLst/>
                <a:latin typeface="Segoe UI Light" pitchFamily="34" charset="0"/>
                <a:ea typeface="+mn-ea"/>
                <a:cs typeface="+mn-cs"/>
              </a:rPr>
              <a:t>SQL </a:t>
            </a:r>
            <a:r>
              <a:rPr lang="es-ES" sz="800" b="1" i="0" u="none" strike="noStrike" kern="1200" dirty="0" err="1">
                <a:solidFill>
                  <a:schemeClr val="tx1"/>
                </a:solidFill>
                <a:effectLst/>
                <a:latin typeface="Segoe UI Light" pitchFamily="34" charset="0"/>
                <a:ea typeface="+mn-ea"/>
                <a:cs typeface="+mn-cs"/>
              </a:rPr>
              <a:t>Databases</a:t>
            </a:r>
            <a:r>
              <a:rPr lang="es-ES" sz="800" b="0" i="0" u="none" strike="noStrike" kern="1200" dirty="0">
                <a:solidFill>
                  <a:schemeClr val="tx1"/>
                </a:solidFill>
                <a:effectLst/>
                <a:latin typeface="Segoe UI Light" pitchFamily="34" charset="0"/>
                <a:ea typeface="+mn-ea"/>
                <a:cs typeface="+mn-cs"/>
              </a:rPr>
              <a:t>, </a:t>
            </a:r>
            <a:r>
              <a:rPr lang="es-ES" sz="800" b="1" i="0" u="none" strike="noStrike" kern="1200" dirty="0" err="1">
                <a:solidFill>
                  <a:schemeClr val="tx1"/>
                </a:solidFill>
                <a:effectLst/>
                <a:latin typeface="Segoe UI Light" pitchFamily="34" charset="0"/>
                <a:ea typeface="+mn-ea"/>
                <a:cs typeface="+mn-cs"/>
              </a:rPr>
              <a:t>on-premises</a:t>
            </a:r>
            <a:r>
              <a:rPr lang="es-ES" sz="800" b="0" i="0" u="none" strike="noStrike" kern="1200" dirty="0">
                <a:solidFill>
                  <a:schemeClr val="tx1"/>
                </a:solidFill>
                <a:effectLst/>
                <a:latin typeface="Segoe UI Light" pitchFamily="34" charset="0"/>
                <a:ea typeface="+mn-ea"/>
                <a:cs typeface="+mn-cs"/>
              </a:rPr>
              <a:t> SQL Server </a:t>
            </a:r>
            <a:r>
              <a:rPr lang="es-ES" sz="800" b="0" i="0" u="none" strike="noStrike" kern="1200" dirty="0" err="1">
                <a:solidFill>
                  <a:schemeClr val="tx1"/>
                </a:solidFill>
                <a:effectLst/>
                <a:latin typeface="Segoe UI Light" pitchFamily="34" charset="0"/>
                <a:ea typeface="+mn-ea"/>
                <a:cs typeface="+mn-cs"/>
              </a:rPr>
              <a:t>databases</a:t>
            </a:r>
            <a:r>
              <a:rPr lang="es-ES" sz="800" b="0" i="0" u="none" strike="noStrike" kern="1200" dirty="0">
                <a:solidFill>
                  <a:schemeClr val="tx1"/>
                </a:solidFill>
                <a:effectLst/>
                <a:latin typeface="Segoe UI Light" pitchFamily="34" charset="0"/>
                <a:ea typeface="+mn-ea"/>
                <a:cs typeface="+mn-cs"/>
              </a:rPr>
              <a:t>, </a:t>
            </a:r>
            <a:r>
              <a:rPr lang="es-ES" sz="800" b="0" i="0" u="none" strike="noStrike" kern="1200" dirty="0" err="1">
                <a:solidFill>
                  <a:schemeClr val="tx1"/>
                </a:solidFill>
                <a:effectLst/>
                <a:latin typeface="Segoe UI Light" pitchFamily="34" charset="0"/>
                <a:ea typeface="+mn-ea"/>
                <a:cs typeface="+mn-cs"/>
              </a:rPr>
              <a:t>or</a:t>
            </a:r>
            <a:r>
              <a:rPr lang="es-ES" sz="800" b="0" i="0" u="none" strike="noStrike" kern="1200" dirty="0">
                <a:solidFill>
                  <a:schemeClr val="tx1"/>
                </a:solidFill>
                <a:effectLst/>
                <a:latin typeface="Segoe UI Light" pitchFamily="34" charset="0"/>
                <a:ea typeface="+mn-ea"/>
                <a:cs typeface="+mn-cs"/>
              </a:rPr>
              <a:t> SQL Server </a:t>
            </a:r>
            <a:r>
              <a:rPr lang="es-ES" sz="800" b="1" i="0" u="none" strike="noStrike" kern="1200" dirty="0" err="1">
                <a:solidFill>
                  <a:schemeClr val="tx1"/>
                </a:solidFill>
                <a:effectLst/>
                <a:latin typeface="Segoe UI Light" pitchFamily="34" charset="0"/>
                <a:ea typeface="+mn-ea"/>
                <a:cs typeface="+mn-cs"/>
              </a:rPr>
              <a:t>instances</a:t>
            </a:r>
            <a:r>
              <a:rPr lang="es-ES" sz="800" b="1" i="0" u="none" strike="noStrike" kern="1200" dirty="0">
                <a:solidFill>
                  <a:schemeClr val="tx1"/>
                </a:solidFill>
                <a:effectLst/>
                <a:latin typeface="Segoe UI Light" pitchFamily="34" charset="0"/>
                <a:ea typeface="+mn-ea"/>
                <a:cs typeface="+mn-cs"/>
              </a:rPr>
              <a:t> </a:t>
            </a:r>
            <a:r>
              <a:rPr lang="es-ES" sz="800" b="1" i="0" u="none" strike="noStrike" kern="1200" dirty="0" err="1">
                <a:solidFill>
                  <a:schemeClr val="tx1"/>
                </a:solidFill>
                <a:effectLst/>
                <a:latin typeface="Segoe UI Light" pitchFamily="34" charset="0"/>
                <a:ea typeface="+mn-ea"/>
                <a:cs typeface="+mn-cs"/>
              </a:rPr>
              <a:t>on</a:t>
            </a:r>
            <a:r>
              <a:rPr lang="es-ES" sz="800" b="1" i="0" u="none" strike="noStrike" kern="1200" dirty="0">
                <a:solidFill>
                  <a:schemeClr val="tx1"/>
                </a:solidFill>
                <a:effectLst/>
                <a:latin typeface="Segoe UI Light" pitchFamily="34" charset="0"/>
                <a:ea typeface="+mn-ea"/>
                <a:cs typeface="+mn-cs"/>
              </a:rPr>
              <a:t> Azure </a:t>
            </a:r>
            <a:r>
              <a:rPr lang="es-ES" sz="800" b="1" i="0" u="none" strike="noStrike" kern="1200" dirty="0" err="1">
                <a:solidFill>
                  <a:schemeClr val="tx1"/>
                </a:solidFill>
                <a:effectLst/>
                <a:latin typeface="Segoe UI Light" pitchFamily="34" charset="0"/>
                <a:ea typeface="+mn-ea"/>
                <a:cs typeface="+mn-cs"/>
              </a:rPr>
              <a:t>VMs</a:t>
            </a:r>
            <a:r>
              <a:rPr lang="en-US" sz="800" b="0" i="0" u="none" strike="noStrike"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Sync occurs only between the Hub and individual member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As part of this topology we also have a </a:t>
            </a:r>
            <a:r>
              <a:rPr lang="en-US" sz="800" b="1" i="0" u="none" strike="noStrike" kern="1200" dirty="0">
                <a:solidFill>
                  <a:schemeClr val="tx1"/>
                </a:solidFill>
                <a:effectLst/>
                <a:latin typeface="Segoe UI Light" pitchFamily="34" charset="0"/>
                <a:ea typeface="+mn-ea"/>
                <a:cs typeface="+mn-cs"/>
              </a:rPr>
              <a:t>Sync Database</a:t>
            </a:r>
            <a:r>
              <a:rPr lang="en-US" sz="800" b="0" i="0" u="none" strike="noStrike" kern="1200" dirty="0">
                <a:solidFill>
                  <a:schemeClr val="tx1"/>
                </a:solidFill>
                <a:effectLst/>
                <a:latin typeface="Segoe UI Light" pitchFamily="34" charset="0"/>
                <a:ea typeface="+mn-ea"/>
                <a:cs typeface="+mn-cs"/>
              </a:rPr>
              <a:t> which contains the </a:t>
            </a:r>
            <a:r>
              <a:rPr lang="en-US" sz="800" b="1" i="0" u="none" strike="noStrike" kern="1200" dirty="0">
                <a:solidFill>
                  <a:schemeClr val="tx1"/>
                </a:solidFill>
                <a:effectLst/>
                <a:latin typeface="Segoe UI Light" pitchFamily="34" charset="0"/>
                <a:ea typeface="+mn-ea"/>
                <a:cs typeface="+mn-cs"/>
              </a:rPr>
              <a:t>metadata and log for Data Sync </a:t>
            </a:r>
            <a:r>
              <a:rPr lang="en-US" sz="800" b="0" i="0" u="none" strike="noStrike" kern="1200" dirty="0">
                <a:solidFill>
                  <a:schemeClr val="tx1"/>
                </a:solidFill>
                <a:effectLst/>
                <a:latin typeface="Segoe UI Light" pitchFamily="34" charset="0"/>
                <a:ea typeface="+mn-ea"/>
                <a:cs typeface="+mn-cs"/>
              </a:rPr>
              <a:t>(this database has to be an Azure SQL Database located in the same region as the Hub Database). </a:t>
            </a:r>
          </a:p>
          <a:p>
            <a:endParaRPr lang="en-US" dirty="0"/>
          </a:p>
          <a:p>
            <a:r>
              <a:rPr lang="en-US" b="1" dirty="0"/>
              <a:t>Important</a:t>
            </a:r>
          </a:p>
          <a:p>
            <a:r>
              <a:rPr lang="en-US" dirty="0"/>
              <a:t>Azure SQL Data Sync does </a:t>
            </a:r>
            <a:r>
              <a:rPr lang="en-US" b="1" dirty="0"/>
              <a:t>not</a:t>
            </a:r>
            <a:r>
              <a:rPr lang="en-US" dirty="0"/>
              <a:t> support Azure SQL Database Managed Instance as of March 2019. Check for the latest update here: </a:t>
            </a:r>
            <a:r>
              <a:rPr lang="en-US" dirty="0">
                <a:hlinkClick r:id="rId3"/>
              </a:rPr>
              <a:t>https://docs.microsoft.com/en-us/azure/sql-database/sql-database-sync-data</a:t>
            </a:r>
            <a:r>
              <a:rPr lang="en-US" dirty="0"/>
              <a:t> </a:t>
            </a:r>
          </a:p>
          <a:p>
            <a:endParaRPr lang="nl-BE" dirty="0"/>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2599707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SQL Data Sync is a service built on Azure SQL Database that lets you synchronize the data you select bi-directionally across multiple SQL databases and SQL Server instances. </a:t>
            </a:r>
          </a:p>
          <a:p>
            <a:endParaRPr lang="en-US" sz="800" b="0"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Data Sync </a:t>
            </a:r>
            <a:r>
              <a:rPr lang="en-US" sz="800" b="0" i="0" u="none" strike="noStrike" kern="1200" dirty="0">
                <a:solidFill>
                  <a:schemeClr val="tx1"/>
                </a:solidFill>
                <a:effectLst/>
                <a:latin typeface="Segoe UI Light" pitchFamily="34" charset="0"/>
                <a:ea typeface="+mn-ea"/>
                <a:cs typeface="+mn-cs"/>
              </a:rPr>
              <a:t>is based around the concept of a </a:t>
            </a:r>
            <a:r>
              <a:rPr lang="en-US" sz="800" b="1" i="0" u="none" strike="noStrike" kern="1200" dirty="0">
                <a:solidFill>
                  <a:schemeClr val="tx1"/>
                </a:solidFill>
                <a:effectLst/>
                <a:latin typeface="Segoe UI Light" pitchFamily="34" charset="0"/>
                <a:ea typeface="+mn-ea"/>
                <a:cs typeface="+mn-cs"/>
              </a:rPr>
              <a:t>Sync Group</a:t>
            </a:r>
            <a:r>
              <a:rPr lang="en-US" sz="800" b="0" i="0" u="none" strike="noStrike" kern="1200" dirty="0">
                <a:solidFill>
                  <a:schemeClr val="tx1"/>
                </a:solidFill>
                <a:effectLst/>
                <a:latin typeface="Segoe UI Light" pitchFamily="34" charset="0"/>
                <a:ea typeface="+mn-ea"/>
                <a:cs typeface="+mn-cs"/>
              </a:rPr>
              <a:t>. A Sync Group is a group of databases that you want to synchronize.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The </a:t>
            </a:r>
            <a:r>
              <a:rPr lang="en-US" sz="800" b="1" i="0" u="none" strike="noStrike" kern="1200" dirty="0">
                <a:solidFill>
                  <a:schemeClr val="tx1"/>
                </a:solidFill>
                <a:effectLst/>
                <a:latin typeface="Segoe UI Light" pitchFamily="34" charset="0"/>
                <a:ea typeface="+mn-ea"/>
                <a:cs typeface="+mn-cs"/>
              </a:rPr>
              <a:t>Hub Database</a:t>
            </a:r>
            <a:r>
              <a:rPr lang="en-US" sz="800" b="0" i="0" u="none" strike="noStrike" kern="1200" dirty="0">
                <a:solidFill>
                  <a:schemeClr val="tx1"/>
                </a:solidFill>
                <a:effectLst/>
                <a:latin typeface="Segoe UI Light" pitchFamily="34" charset="0"/>
                <a:ea typeface="+mn-ea"/>
                <a:cs typeface="+mn-cs"/>
              </a:rPr>
              <a:t> must be an Azure SQL Database.</a:t>
            </a:r>
          </a:p>
          <a:p>
            <a:r>
              <a:rPr lang="en-US" sz="800" b="0" i="0" u="none" strike="noStrike" kern="1200" dirty="0">
                <a:solidFill>
                  <a:schemeClr val="tx1"/>
                </a:solidFill>
                <a:effectLst/>
                <a:latin typeface="Segoe UI Light" pitchFamily="34" charset="0"/>
                <a:ea typeface="+mn-ea"/>
                <a:cs typeface="+mn-cs"/>
              </a:rPr>
              <a:t>The </a:t>
            </a:r>
            <a:r>
              <a:rPr lang="en-US" sz="800" b="1" i="0" u="none" strike="noStrike" kern="1200" dirty="0">
                <a:solidFill>
                  <a:schemeClr val="tx1"/>
                </a:solidFill>
                <a:effectLst/>
                <a:latin typeface="Segoe UI Light" pitchFamily="34" charset="0"/>
                <a:ea typeface="+mn-ea"/>
                <a:cs typeface="+mn-cs"/>
              </a:rPr>
              <a:t>member databases</a:t>
            </a:r>
            <a:r>
              <a:rPr lang="en-US" sz="800" b="0" i="0" u="none" strike="noStrike" kern="1200" dirty="0">
                <a:solidFill>
                  <a:schemeClr val="tx1"/>
                </a:solidFill>
                <a:effectLst/>
                <a:latin typeface="Segoe UI Light" pitchFamily="34" charset="0"/>
                <a:ea typeface="+mn-ea"/>
                <a:cs typeface="+mn-cs"/>
              </a:rPr>
              <a:t> can be either SQL Databases, on-premises SQL Server databases, or SQL Server instances on Azure virtual machines.</a:t>
            </a:r>
          </a:p>
          <a:p>
            <a:r>
              <a:rPr lang="en-US" sz="800" b="0" i="0" u="none" strike="noStrike" kern="1200" dirty="0">
                <a:solidFill>
                  <a:schemeClr val="tx1"/>
                </a:solidFill>
                <a:effectLst/>
                <a:latin typeface="Segoe UI Light" pitchFamily="34" charset="0"/>
                <a:ea typeface="+mn-ea"/>
                <a:cs typeface="+mn-cs"/>
              </a:rPr>
              <a:t>The </a:t>
            </a:r>
            <a:r>
              <a:rPr lang="en-US" sz="800" b="1" i="0" u="none" strike="noStrike" kern="1200" dirty="0">
                <a:solidFill>
                  <a:schemeClr val="tx1"/>
                </a:solidFill>
                <a:effectLst/>
                <a:latin typeface="Segoe UI Light" pitchFamily="34" charset="0"/>
                <a:ea typeface="+mn-ea"/>
                <a:cs typeface="+mn-cs"/>
              </a:rPr>
              <a:t>Sync Database</a:t>
            </a:r>
            <a:r>
              <a:rPr lang="en-US" sz="800" b="0" i="0" u="none" strike="noStrike" kern="1200" dirty="0">
                <a:solidFill>
                  <a:schemeClr val="tx1"/>
                </a:solidFill>
                <a:effectLst/>
                <a:latin typeface="Segoe UI Light" pitchFamily="34" charset="0"/>
                <a:ea typeface="+mn-ea"/>
                <a:cs typeface="+mn-cs"/>
              </a:rPr>
              <a:t> contains the metadata and log for Data Sync. The Sync Database has to be an Azure SQL Database located in the same region as the Hub Database. The Sync Database is customer created and customer owned.</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25019049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a:t>
            </a:r>
            <a:r>
              <a:rPr lang="en-US" sz="800" b="1" i="0" u="none" strike="noStrike" kern="1200" dirty="0">
                <a:solidFill>
                  <a:schemeClr val="tx1"/>
                </a:solidFill>
                <a:effectLst/>
                <a:latin typeface="Segoe UI Light" pitchFamily="34" charset="0"/>
                <a:ea typeface="+mn-ea"/>
                <a:cs typeface="+mn-cs"/>
              </a:rPr>
              <a:t>Sync Schema</a:t>
            </a:r>
            <a:r>
              <a:rPr lang="en-US" sz="800" b="0" i="0" u="none" strike="noStrike" kern="1200" dirty="0">
                <a:solidFill>
                  <a:schemeClr val="tx1"/>
                </a:solidFill>
                <a:effectLst/>
                <a:latin typeface="Segoe UI Light" pitchFamily="34" charset="0"/>
                <a:ea typeface="+mn-ea"/>
                <a:cs typeface="+mn-cs"/>
              </a:rPr>
              <a:t> describes which data is being synchronized.</a:t>
            </a:r>
          </a:p>
          <a:p>
            <a:endParaRPr lang="en-US" sz="800" b="0" i="0" u="none" strike="noStrike" kern="1200" dirty="0">
              <a:solidFill>
                <a:schemeClr val="tx1"/>
              </a:solidFill>
              <a:effectLst/>
              <a:latin typeface="Segoe UI Light" pitchFamily="34" charset="0"/>
              <a:ea typeface="+mn-ea"/>
              <a:cs typeface="+mn-cs"/>
            </a:endParaRPr>
          </a:p>
          <a:p>
            <a:endParaRPr lang="en-US" sz="800" b="0" i="0" u="none" strike="noStrike" kern="1200" dirty="0">
              <a:solidFill>
                <a:schemeClr val="tx1"/>
              </a:solidFill>
              <a:effectLst/>
              <a:latin typeface="Segoe UI Light" pitchFamily="34" charset="0"/>
              <a:ea typeface="+mn-ea"/>
              <a:cs typeface="+mn-cs"/>
            </a:endParaRPr>
          </a:p>
          <a:p>
            <a:endParaRPr lang="nl-BE" sz="8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9568984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00" dirty="0"/>
              <a:t>The </a:t>
            </a:r>
            <a:r>
              <a:rPr lang="en-US" sz="800" b="1" dirty="0"/>
              <a:t>Sync Direction</a:t>
            </a:r>
            <a:r>
              <a:rPr lang="en-US" sz="800" dirty="0"/>
              <a:t> can be bi-directional or can flow in only one direction. That is, the Sync Direction can be </a:t>
            </a:r>
            <a:r>
              <a:rPr lang="en-US" sz="800" i="1" dirty="0"/>
              <a:t>Hub to Member</a:t>
            </a:r>
            <a:r>
              <a:rPr lang="en-US" sz="800" dirty="0"/>
              <a:t> or </a:t>
            </a:r>
            <a:r>
              <a:rPr lang="en-US" sz="800" i="1" dirty="0"/>
              <a:t>Member to Hub</a:t>
            </a:r>
            <a:r>
              <a:rPr lang="en-US" sz="800" dirty="0"/>
              <a:t>, or both.</a:t>
            </a:r>
          </a:p>
          <a:p>
            <a:pPr marL="171450" indent="-171450">
              <a:buFont typeface="Arial" panose="020B0604020202020204" pitchFamily="34" charset="0"/>
              <a:buChar char="•"/>
            </a:pPr>
            <a:r>
              <a:rPr lang="en-US" sz="800" dirty="0"/>
              <a:t>The </a:t>
            </a:r>
            <a:r>
              <a:rPr lang="en-US" sz="800" b="1" dirty="0"/>
              <a:t>Sync Interval</a:t>
            </a:r>
            <a:r>
              <a:rPr lang="en-US" sz="800" dirty="0"/>
              <a:t> is how often synchronization occurs.</a:t>
            </a:r>
          </a:p>
          <a:p>
            <a:pPr marL="171450" indent="-171450">
              <a:buFont typeface="Arial" panose="020B0604020202020204" pitchFamily="34" charset="0"/>
              <a:buChar char="•"/>
            </a:pPr>
            <a:r>
              <a:rPr lang="en-US" sz="800" dirty="0"/>
              <a:t>The </a:t>
            </a:r>
            <a:r>
              <a:rPr lang="en-US" sz="800" b="1" dirty="0"/>
              <a:t>Conflict Resolution Policy</a:t>
            </a:r>
            <a:r>
              <a:rPr lang="en-US" sz="800" dirty="0"/>
              <a:t> is a group level policy, which can be </a:t>
            </a:r>
            <a:r>
              <a:rPr lang="en-US" sz="800" i="1" dirty="0"/>
              <a:t>Hub wins</a:t>
            </a:r>
            <a:r>
              <a:rPr lang="en-US" sz="800" dirty="0"/>
              <a:t> or </a:t>
            </a:r>
            <a:r>
              <a:rPr lang="en-US" sz="800" i="1" dirty="0"/>
              <a:t>Member wins</a:t>
            </a:r>
            <a:r>
              <a:rPr lang="en-US" sz="800" dirty="0"/>
              <a:t>.</a:t>
            </a:r>
          </a:p>
          <a:p>
            <a:pPr marL="171450" indent="-171450">
              <a:buFont typeface="Arial" panose="020B0604020202020204" pitchFamily="34" charset="0"/>
              <a:buChar char="•"/>
            </a:pPr>
            <a:r>
              <a:rPr lang="en-US" sz="800" dirty="0"/>
              <a:t>Data Sync uses a hub and spoke topology to synchronize data. You define one of the databases in the group as the Hub Database. The rest of the databases are member databases. Sync occurs only between the Hub and individual members. </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2022899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3853168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he Sync Database has to be an Azure SQL Database located in the same region as the Hub Database. </a:t>
            </a:r>
            <a:r>
              <a:rPr lang="en-US" sz="800" b="1" i="0" u="none" strike="noStrike" kern="1200" dirty="0">
                <a:solidFill>
                  <a:schemeClr val="tx1"/>
                </a:solidFill>
                <a:effectLst/>
                <a:latin typeface="Segoe UI Light" pitchFamily="34" charset="0"/>
                <a:ea typeface="+mn-ea"/>
                <a:cs typeface="+mn-cs"/>
              </a:rPr>
              <a:t>The Sync Database is customer created and customer owned.</a:t>
            </a:r>
          </a:p>
          <a:p>
            <a:endParaRPr lang="nl-BE" sz="8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41467184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u="none" strike="noStrike" kern="1200" dirty="0">
                <a:solidFill>
                  <a:schemeClr val="tx1"/>
                </a:solidFill>
                <a:effectLst/>
                <a:latin typeface="Segoe UI Light" pitchFamily="34" charset="0"/>
                <a:ea typeface="+mn-ea"/>
                <a:cs typeface="+mn-cs"/>
              </a:rPr>
              <a:t>Tracking data changes:</a:t>
            </a:r>
            <a:r>
              <a:rPr lang="en-US" sz="900" b="0" i="0" u="none" strike="noStrike" kern="1200" dirty="0">
                <a:solidFill>
                  <a:schemeClr val="tx1"/>
                </a:solidFill>
                <a:effectLst/>
                <a:latin typeface="Segoe UI Light" pitchFamily="34" charset="0"/>
                <a:ea typeface="+mn-ea"/>
                <a:cs typeface="+mn-cs"/>
              </a:rPr>
              <a:t> Data Sync tracks changes using insert, update, and delete triggers. The changes are recorded in a side table in the user database.</a:t>
            </a:r>
          </a:p>
          <a:p>
            <a:r>
              <a:rPr lang="en-US" sz="900" b="1" i="0" u="none" strike="noStrike" kern="1200" dirty="0">
                <a:solidFill>
                  <a:schemeClr val="tx1"/>
                </a:solidFill>
                <a:effectLst/>
                <a:latin typeface="Segoe UI Light" pitchFamily="34" charset="0"/>
                <a:ea typeface="+mn-ea"/>
                <a:cs typeface="+mn-cs"/>
              </a:rPr>
              <a:t>Synchronizing data:</a:t>
            </a:r>
            <a:r>
              <a:rPr lang="en-US" sz="900" b="0" i="0" u="none" strike="noStrike" kern="1200" dirty="0">
                <a:solidFill>
                  <a:schemeClr val="tx1"/>
                </a:solidFill>
                <a:effectLst/>
                <a:latin typeface="Segoe UI Light" pitchFamily="34" charset="0"/>
                <a:ea typeface="+mn-ea"/>
                <a:cs typeface="+mn-cs"/>
              </a:rPr>
              <a:t> Data Sync is designed in a Hub and Spoke model. The Hub syncs with each member individually. Changes from the Hub are downloaded to the member and then changes from the member are uploaded to the Hub.</a:t>
            </a:r>
          </a:p>
          <a:p>
            <a:r>
              <a:rPr lang="en-US" sz="900" b="1" i="0" u="none" strike="noStrike" kern="1200" dirty="0">
                <a:solidFill>
                  <a:schemeClr val="tx1"/>
                </a:solidFill>
                <a:effectLst/>
                <a:latin typeface="Segoe UI Light" pitchFamily="34" charset="0"/>
                <a:ea typeface="+mn-ea"/>
                <a:cs typeface="+mn-cs"/>
              </a:rPr>
              <a:t>Resolving conflicts:</a:t>
            </a:r>
            <a:r>
              <a:rPr lang="en-US" sz="900" b="0" i="0" u="none" strike="noStrike" kern="1200" dirty="0">
                <a:solidFill>
                  <a:schemeClr val="tx1"/>
                </a:solidFill>
                <a:effectLst/>
                <a:latin typeface="Segoe UI Light" pitchFamily="34" charset="0"/>
                <a:ea typeface="+mn-ea"/>
                <a:cs typeface="+mn-cs"/>
              </a:rPr>
              <a:t> Data Sync provides two options for conflict resolution, </a:t>
            </a:r>
            <a:r>
              <a:rPr lang="en-US" sz="900" b="0" i="1" u="none" strike="noStrike" kern="1200" dirty="0">
                <a:solidFill>
                  <a:schemeClr val="tx1"/>
                </a:solidFill>
                <a:effectLst/>
                <a:latin typeface="Segoe UI Light" pitchFamily="34" charset="0"/>
                <a:ea typeface="+mn-ea"/>
                <a:cs typeface="+mn-cs"/>
              </a:rPr>
              <a:t>Hub wins</a:t>
            </a:r>
            <a:r>
              <a:rPr lang="en-US" sz="900" b="0" i="0" u="none" strike="noStrike" kern="1200" dirty="0">
                <a:solidFill>
                  <a:schemeClr val="tx1"/>
                </a:solidFill>
                <a:effectLst/>
                <a:latin typeface="Segoe UI Light" pitchFamily="34" charset="0"/>
                <a:ea typeface="+mn-ea"/>
                <a:cs typeface="+mn-cs"/>
              </a:rPr>
              <a:t> or </a:t>
            </a:r>
            <a:r>
              <a:rPr lang="en-US" sz="900" b="0" i="1" u="none" strike="noStrike" kern="1200" dirty="0">
                <a:solidFill>
                  <a:schemeClr val="tx1"/>
                </a:solidFill>
                <a:effectLst/>
                <a:latin typeface="Segoe UI Light" pitchFamily="34" charset="0"/>
                <a:ea typeface="+mn-ea"/>
                <a:cs typeface="+mn-cs"/>
              </a:rPr>
              <a:t>Member wins</a:t>
            </a:r>
            <a:r>
              <a:rPr lang="en-US" sz="900" b="0" i="0" u="none" strike="noStrike" kern="1200" dirty="0">
                <a:solidFill>
                  <a:schemeClr val="tx1"/>
                </a:solidFill>
                <a:effectLst/>
                <a:latin typeface="Segoe UI Light" pitchFamily="34" charset="0"/>
                <a:ea typeface="+mn-ea"/>
                <a:cs typeface="+mn-cs"/>
              </a:rPr>
              <a:t>.</a:t>
            </a:r>
          </a:p>
          <a:p>
            <a:pPr lvl="1"/>
            <a:r>
              <a:rPr lang="en-US" sz="900" b="0" i="0" u="none" strike="noStrike" kern="1200" dirty="0">
                <a:solidFill>
                  <a:schemeClr val="tx1"/>
                </a:solidFill>
                <a:effectLst/>
                <a:latin typeface="Segoe UI Light" pitchFamily="34" charset="0"/>
                <a:ea typeface="+mn-ea"/>
                <a:cs typeface="+mn-cs"/>
              </a:rPr>
              <a:t>If you select </a:t>
            </a:r>
            <a:r>
              <a:rPr lang="en-US" sz="900" b="0" i="1" u="none" strike="noStrike" kern="1200" dirty="0">
                <a:solidFill>
                  <a:schemeClr val="tx1"/>
                </a:solidFill>
                <a:effectLst/>
                <a:latin typeface="Segoe UI Light" pitchFamily="34" charset="0"/>
                <a:ea typeface="+mn-ea"/>
                <a:cs typeface="+mn-cs"/>
              </a:rPr>
              <a:t>Hub wins</a:t>
            </a:r>
            <a:r>
              <a:rPr lang="en-US" sz="900" b="0" i="0" u="none" strike="noStrike" kern="1200" dirty="0">
                <a:solidFill>
                  <a:schemeClr val="tx1"/>
                </a:solidFill>
                <a:effectLst/>
                <a:latin typeface="Segoe UI Light" pitchFamily="34" charset="0"/>
                <a:ea typeface="+mn-ea"/>
                <a:cs typeface="+mn-cs"/>
              </a:rPr>
              <a:t>, the changes in the hub always overwrite changes in the member.</a:t>
            </a:r>
          </a:p>
          <a:p>
            <a:pPr lvl="1"/>
            <a:r>
              <a:rPr lang="en-US" sz="900" b="0" i="0" u="none" strike="noStrike" kern="1200" dirty="0">
                <a:solidFill>
                  <a:schemeClr val="tx1"/>
                </a:solidFill>
                <a:effectLst/>
                <a:latin typeface="Segoe UI Light" pitchFamily="34" charset="0"/>
                <a:ea typeface="+mn-ea"/>
                <a:cs typeface="+mn-cs"/>
              </a:rPr>
              <a:t>If you select </a:t>
            </a:r>
            <a:r>
              <a:rPr lang="en-US" sz="900" b="0" i="1" u="none" strike="noStrike" kern="1200" dirty="0">
                <a:solidFill>
                  <a:schemeClr val="tx1"/>
                </a:solidFill>
                <a:effectLst/>
                <a:latin typeface="Segoe UI Light" pitchFamily="34" charset="0"/>
                <a:ea typeface="+mn-ea"/>
                <a:cs typeface="+mn-cs"/>
              </a:rPr>
              <a:t>Member wins</a:t>
            </a:r>
            <a:r>
              <a:rPr lang="en-US" sz="900" b="0" i="0" u="none" strike="noStrike" kern="1200" dirty="0">
                <a:solidFill>
                  <a:schemeClr val="tx1"/>
                </a:solidFill>
                <a:effectLst/>
                <a:latin typeface="Segoe UI Light" pitchFamily="34" charset="0"/>
                <a:ea typeface="+mn-ea"/>
                <a:cs typeface="+mn-cs"/>
              </a:rPr>
              <a:t>, the changes in the member overwrite changes in the hub. If there's more than one member, the final value depends on which member syncs first.</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6594368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dirty="0"/>
              <a:t>Note that Transactional Replication supports transactional consistency but Data Sync does not.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38864761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When to use Data Sync</a:t>
            </a:r>
          </a:p>
          <a:p>
            <a:r>
              <a:rPr lang="en-US" sz="800" b="0" i="0" u="none" strike="noStrike" kern="1200" dirty="0">
                <a:solidFill>
                  <a:schemeClr val="tx1"/>
                </a:solidFill>
                <a:effectLst/>
                <a:latin typeface="Segoe UI Light" pitchFamily="34" charset="0"/>
                <a:ea typeface="+mn-ea"/>
                <a:cs typeface="+mn-cs"/>
              </a:rPr>
              <a:t>Data Sync is useful in cases where data needs to be kept up to date across several Azure SQL Databases or SQL Server databases. Here are the main use cases for Data Sync: </a:t>
            </a:r>
          </a:p>
          <a:p>
            <a:r>
              <a:rPr lang="en-US" sz="800" b="1" i="0" u="none" strike="noStrike" kern="1200" dirty="0">
                <a:solidFill>
                  <a:schemeClr val="tx1"/>
                </a:solidFill>
                <a:effectLst/>
                <a:latin typeface="Segoe UI Light" pitchFamily="34" charset="0"/>
                <a:ea typeface="+mn-ea"/>
                <a:cs typeface="+mn-cs"/>
              </a:rPr>
              <a:t>Hybrid Data Synchronization:</a:t>
            </a:r>
            <a:r>
              <a:rPr lang="en-US" sz="800" b="0" i="0" u="none" strike="noStrike" kern="1200" dirty="0">
                <a:solidFill>
                  <a:schemeClr val="tx1"/>
                </a:solidFill>
                <a:effectLst/>
                <a:latin typeface="Segoe UI Light" pitchFamily="34" charset="0"/>
                <a:ea typeface="+mn-ea"/>
                <a:cs typeface="+mn-cs"/>
              </a:rPr>
              <a:t> With Data Sync, you can keep data synchronized between your on-premises databases and Azure SQL Databases to enable hybrid applications. This capability may appeal to customers who are considering moving to the cloud and would like to put some of their application in Azure.</a:t>
            </a:r>
          </a:p>
          <a:p>
            <a:r>
              <a:rPr lang="en-US" sz="800" b="1" i="0" u="none" strike="noStrike" kern="1200" dirty="0">
                <a:solidFill>
                  <a:schemeClr val="tx1"/>
                </a:solidFill>
                <a:effectLst/>
                <a:latin typeface="Segoe UI Light" pitchFamily="34" charset="0"/>
                <a:ea typeface="+mn-ea"/>
                <a:cs typeface="+mn-cs"/>
              </a:rPr>
              <a:t>Distributed Applications:</a:t>
            </a:r>
            <a:r>
              <a:rPr lang="en-US" sz="800" b="0" i="0" u="none" strike="noStrike" kern="1200" dirty="0">
                <a:solidFill>
                  <a:schemeClr val="tx1"/>
                </a:solidFill>
                <a:effectLst/>
                <a:latin typeface="Segoe UI Light" pitchFamily="34" charset="0"/>
                <a:ea typeface="+mn-ea"/>
                <a:cs typeface="+mn-cs"/>
              </a:rPr>
              <a:t> In many cases, it's beneficial to separate different workloads across different databases. For example, if you have a large production database, but you also need to run a reporting or analytics workload on this data, it's helpful to have a second database for this additional workload. This approach minimizes the performance impact on your production workload. You can use Data Sync to keep these two databases synchronized.</a:t>
            </a:r>
          </a:p>
          <a:p>
            <a:r>
              <a:rPr lang="en-US" sz="800" b="1" i="0" u="none" strike="noStrike" kern="1200" dirty="0">
                <a:solidFill>
                  <a:schemeClr val="tx1"/>
                </a:solidFill>
                <a:effectLst/>
                <a:latin typeface="Segoe UI Light" pitchFamily="34" charset="0"/>
                <a:ea typeface="+mn-ea"/>
                <a:cs typeface="+mn-cs"/>
              </a:rPr>
              <a:t>Globally Distributed Applications:</a:t>
            </a:r>
            <a:r>
              <a:rPr lang="en-US" sz="800" b="0" i="0" u="none" strike="noStrike" kern="1200" dirty="0">
                <a:solidFill>
                  <a:schemeClr val="tx1"/>
                </a:solidFill>
                <a:effectLst/>
                <a:latin typeface="Segoe UI Light" pitchFamily="34" charset="0"/>
                <a:ea typeface="+mn-ea"/>
                <a:cs typeface="+mn-cs"/>
              </a:rPr>
              <a:t> Many businesses span several regions and even several countries. To minimize network latency, it's best to have your data in a region close to you. With Data Sync, you can easily keep databases in regions around the world synchronized.</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Data Sync is </a:t>
            </a:r>
            <a:r>
              <a:rPr lang="en-US" sz="800" b="1" i="0" u="none" strike="noStrike" kern="1200" dirty="0">
                <a:solidFill>
                  <a:schemeClr val="tx1"/>
                </a:solidFill>
                <a:effectLst/>
                <a:latin typeface="Segoe UI Light" pitchFamily="34" charset="0"/>
                <a:ea typeface="+mn-ea"/>
                <a:cs typeface="+mn-cs"/>
              </a:rPr>
              <a:t>not</a:t>
            </a:r>
            <a:r>
              <a:rPr lang="en-US" sz="800" b="0" i="0" u="none" strike="noStrike" kern="1200" dirty="0">
                <a:solidFill>
                  <a:schemeClr val="tx1"/>
                </a:solidFill>
                <a:effectLst/>
                <a:latin typeface="Segoe UI Light" pitchFamily="34" charset="0"/>
                <a:ea typeface="+mn-ea"/>
                <a:cs typeface="+mn-cs"/>
              </a:rPr>
              <a:t> the preferred solution for the following scenarios: </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isaster Recovery</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Read Scal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ETL (OLTP to OLAP)</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Migration from on-premises SQL Server to Azure SQL Database</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28641196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sng" strike="noStrike" kern="1200" dirty="0">
                <a:solidFill>
                  <a:schemeClr val="tx1"/>
                </a:solidFill>
                <a:effectLst/>
                <a:latin typeface="Segoe UI Light" pitchFamily="34" charset="0"/>
                <a:ea typeface="+mn-ea"/>
                <a:cs typeface="+mn-cs"/>
              </a:rPr>
              <a:t>SQL Database instance size</a:t>
            </a:r>
          </a:p>
          <a:p>
            <a:r>
              <a:rPr lang="en-US" sz="800" b="0" i="0" u="none" strike="noStrike" kern="1200" dirty="0">
                <a:solidFill>
                  <a:schemeClr val="tx1"/>
                </a:solidFill>
                <a:effectLst/>
                <a:latin typeface="Segoe UI Light" pitchFamily="34" charset="0"/>
                <a:ea typeface="+mn-ea"/>
                <a:cs typeface="+mn-cs"/>
              </a:rPr>
              <a:t>When you create a new SQL Database instance, set the maximum size so that it's always larger than the database you deploy. If you don't set the maximum size to larger than the deployed database, sync fails. Although SQL Data Sync doesn't offer automatic growth, you can run the ALTER DATABASE command to increase the size of the database after it has been created. Ensure that you stay within the SQL Database instance size limits. </a:t>
            </a:r>
          </a:p>
          <a:p>
            <a:r>
              <a:rPr lang="en-US" sz="800" b="0" i="0" u="sng" strike="noStrike" kern="1200" dirty="0">
                <a:solidFill>
                  <a:schemeClr val="tx1"/>
                </a:solidFill>
                <a:effectLst/>
                <a:latin typeface="Segoe UI Light" pitchFamily="34" charset="0"/>
                <a:ea typeface="+mn-ea"/>
                <a:cs typeface="+mn-cs"/>
              </a:rPr>
              <a:t>Selecting tables</a:t>
            </a:r>
          </a:p>
          <a:p>
            <a:r>
              <a:rPr lang="en-US" sz="800" b="0" i="0" u="none" strike="noStrike" kern="1200" dirty="0">
                <a:solidFill>
                  <a:schemeClr val="tx1"/>
                </a:solidFill>
                <a:effectLst/>
                <a:latin typeface="Segoe UI Light" pitchFamily="34" charset="0"/>
                <a:ea typeface="+mn-ea"/>
                <a:cs typeface="+mn-cs"/>
              </a:rPr>
              <a:t>You don't have to include all the tables that are in a database in a sync group. The tables that you include in a sync group affect efficiency and costs. Include tables, and the tables they are dependent on, in a sync group only if business needs require it. </a:t>
            </a:r>
          </a:p>
          <a:p>
            <a:r>
              <a:rPr lang="en-US" sz="800" b="0" i="0" u="sng" strike="noStrike" kern="1200" dirty="0">
                <a:solidFill>
                  <a:schemeClr val="tx1"/>
                </a:solidFill>
                <a:effectLst/>
                <a:latin typeface="Segoe UI Light" pitchFamily="34" charset="0"/>
                <a:ea typeface="+mn-ea"/>
                <a:cs typeface="+mn-cs"/>
              </a:rPr>
              <a:t>Primary keys</a:t>
            </a:r>
          </a:p>
          <a:p>
            <a:r>
              <a:rPr lang="en-US" sz="800" b="0" i="0" u="none" strike="noStrike" kern="1200" dirty="0">
                <a:solidFill>
                  <a:schemeClr val="tx1"/>
                </a:solidFill>
                <a:effectLst/>
                <a:latin typeface="Segoe UI Light" pitchFamily="34" charset="0"/>
                <a:ea typeface="+mn-ea"/>
                <a:cs typeface="+mn-cs"/>
              </a:rPr>
              <a:t>Each table in a sync group must have a primary key. The SQL Data Sync service can't sync a table that doesn't have a primary key. </a:t>
            </a:r>
          </a:p>
          <a:p>
            <a:r>
              <a:rPr lang="en-US" u="sng" dirty="0"/>
              <a:t>Snapshot isolation must be enabled</a:t>
            </a:r>
          </a:p>
          <a:p>
            <a:r>
              <a:rPr lang="en-US" dirty="0"/>
              <a:t>Snapshot isolation must be enabled so that readers do not block writers and writers do not block readers. This improves performance by reducing blocking. </a:t>
            </a:r>
            <a:endParaRPr lang="en-US" sz="800" b="0" i="0" u="sng" strike="noStrike" kern="1200" dirty="0">
              <a:solidFill>
                <a:schemeClr val="tx1"/>
              </a:solidFill>
              <a:effectLst/>
              <a:latin typeface="Segoe UI Light" pitchFamily="34" charset="0"/>
              <a:ea typeface="+mn-ea"/>
              <a:cs typeface="+mn-cs"/>
            </a:endParaRPr>
          </a:p>
          <a:p>
            <a:pPr marL="0" algn="l" defTabSz="932742" rtl="0" eaLnBrk="1" latinLnBrk="0" hangingPunct="1">
              <a:lnSpc>
                <a:spcPct val="90000"/>
              </a:lnSpc>
              <a:spcAft>
                <a:spcPts val="340"/>
              </a:spcAft>
            </a:pPr>
            <a:r>
              <a:rPr lang="en-US" sz="800" b="0" i="0" u="sng" strike="noStrike" kern="1200" dirty="0">
                <a:solidFill>
                  <a:schemeClr val="tx1"/>
                </a:solidFill>
                <a:effectLst/>
                <a:latin typeface="Segoe UI Light" pitchFamily="34" charset="0"/>
                <a:ea typeface="+mn-ea"/>
                <a:cs typeface="+mn-cs"/>
              </a:rPr>
              <a:t>Empty tables provide the best performance</a:t>
            </a:r>
          </a:p>
          <a:p>
            <a:r>
              <a:rPr lang="en-US" sz="800" b="0" i="0" u="none" strike="noStrike" kern="1200" dirty="0">
                <a:solidFill>
                  <a:schemeClr val="tx1"/>
                </a:solidFill>
                <a:effectLst/>
                <a:latin typeface="Segoe UI Light" pitchFamily="34" charset="0"/>
                <a:ea typeface="+mn-ea"/>
                <a:cs typeface="+mn-cs"/>
              </a:rPr>
              <a:t>Empty tables provide the best performance at initialization time. If the target table is empty, Data Sync uses bulk insert to load the data. Otherwise, Data Sync does a row-by-row comparison and insertion to check for conflicts. If performance is not a concern, however, you can set up sync between tables that already contain data.</a:t>
            </a:r>
          </a:p>
          <a:p>
            <a:r>
              <a:rPr lang="en-US" sz="800" b="0" i="0" u="sng" strike="noStrike" kern="1200" dirty="0">
                <a:solidFill>
                  <a:schemeClr val="tx1"/>
                </a:solidFill>
                <a:effectLst/>
                <a:latin typeface="Segoe UI Light" pitchFamily="34" charset="0"/>
                <a:ea typeface="+mn-ea"/>
                <a:cs typeface="+mn-cs"/>
              </a:rPr>
              <a:t>Enterprise-to-cloud scenario</a:t>
            </a:r>
          </a:p>
          <a:p>
            <a:r>
              <a:rPr lang="en-US" sz="800" b="0" i="0" u="none" strike="noStrike" kern="1200" dirty="0">
                <a:solidFill>
                  <a:schemeClr val="tx1"/>
                </a:solidFill>
                <a:effectLst/>
                <a:latin typeface="Segoe UI Light" pitchFamily="34" charset="0"/>
                <a:ea typeface="+mn-ea"/>
                <a:cs typeface="+mn-cs"/>
              </a:rPr>
              <a:t>To minimize latency, keep the hub database close to the greatest concentration of the sync group's database traffic. </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a:p>
        </p:txBody>
      </p:sp>
    </p:spTree>
    <p:extLst>
      <p:ext uri="{BB962C8B-B14F-4D97-AF65-F5344CB8AC3E}">
        <p14:creationId xmlns:p14="http://schemas.microsoft.com/office/powerpoint/2010/main" val="24220615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u="sng" strike="noStrike" kern="1200" dirty="0">
                <a:solidFill>
                  <a:schemeClr val="tx1"/>
                </a:solidFill>
                <a:effectLst/>
                <a:latin typeface="Segoe UI Light" pitchFamily="34" charset="0"/>
                <a:ea typeface="+mn-ea"/>
                <a:cs typeface="+mn-cs"/>
              </a:rPr>
              <a:t>Sync recommendations:</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If possible, start with data in only one of the sync group's databases. </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A sync loop occurs when there are circular references within a sync group. In that scenario, each change in one database is endlessly and circularly replicated through the databases in the sync group. Ensure that you avoid sync loops, because they cause performance degradation and might significantly increase costs. </a:t>
            </a:r>
          </a:p>
          <a:p>
            <a:pPr marL="171450"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Monitor the sync group and database health regularly through the portal and log interface.</a:t>
            </a:r>
          </a:p>
          <a:p>
            <a:r>
              <a:rPr lang="en-US" sz="900" b="1" i="0" u="sng" strike="noStrike" kern="1200" dirty="0">
                <a:solidFill>
                  <a:schemeClr val="tx1"/>
                </a:solidFill>
                <a:effectLst/>
                <a:latin typeface="Segoe UI Light" pitchFamily="34" charset="0"/>
                <a:ea typeface="+mn-ea"/>
                <a:cs typeface="+mn-cs"/>
              </a:rPr>
              <a:t>Maintenance recommendations</a:t>
            </a:r>
          </a:p>
          <a:p>
            <a:r>
              <a:rPr lang="en-US" sz="900" b="0" i="0" u="none" strike="noStrike" kern="1200" dirty="0">
                <a:solidFill>
                  <a:schemeClr val="tx1"/>
                </a:solidFill>
                <a:effectLst/>
                <a:latin typeface="Segoe UI Light" pitchFamily="34" charset="0"/>
                <a:ea typeface="+mn-ea"/>
                <a:cs typeface="+mn-cs"/>
              </a:rPr>
              <a:t>A sync group or a database in a sync group can become out of date. When a sync group's status is </a:t>
            </a:r>
            <a:r>
              <a:rPr lang="en-US" sz="900" b="1" i="0" u="none" strike="noStrike" kern="1200" dirty="0">
                <a:solidFill>
                  <a:schemeClr val="tx1"/>
                </a:solidFill>
                <a:effectLst/>
                <a:latin typeface="Segoe UI Light" pitchFamily="34" charset="0"/>
                <a:ea typeface="+mn-ea"/>
                <a:cs typeface="+mn-cs"/>
              </a:rPr>
              <a:t>Out-of-date</a:t>
            </a:r>
            <a:r>
              <a:rPr lang="en-US" sz="900" b="0" i="0" u="none" strike="noStrike" kern="1200" dirty="0">
                <a:solidFill>
                  <a:schemeClr val="tx1"/>
                </a:solidFill>
                <a:effectLst/>
                <a:latin typeface="Segoe UI Light" pitchFamily="34" charset="0"/>
                <a:ea typeface="+mn-ea"/>
                <a:cs typeface="+mn-cs"/>
              </a:rPr>
              <a:t>, it stops functioning. When a database's status is </a:t>
            </a:r>
            <a:r>
              <a:rPr lang="en-US" sz="900" b="1" i="0" u="none" strike="noStrike" kern="1200" dirty="0">
                <a:solidFill>
                  <a:schemeClr val="tx1"/>
                </a:solidFill>
                <a:effectLst/>
                <a:latin typeface="Segoe UI Light" pitchFamily="34" charset="0"/>
                <a:ea typeface="+mn-ea"/>
                <a:cs typeface="+mn-cs"/>
              </a:rPr>
              <a:t>Out-of-date</a:t>
            </a:r>
            <a:r>
              <a:rPr lang="en-US" sz="900" b="0" i="0" u="none" strike="noStrike" kern="1200" dirty="0">
                <a:solidFill>
                  <a:schemeClr val="tx1"/>
                </a:solidFill>
                <a:effectLst/>
                <a:latin typeface="Segoe UI Light" pitchFamily="34" charset="0"/>
                <a:ea typeface="+mn-ea"/>
                <a:cs typeface="+mn-cs"/>
              </a:rPr>
              <a:t>, data might be lost. It's best to avoid this scenario instead of trying to recover from it. </a:t>
            </a:r>
          </a:p>
          <a:p>
            <a:r>
              <a:rPr lang="en-US" sz="900" b="0" i="0" u="none" strike="noStrike" kern="1200" dirty="0">
                <a:solidFill>
                  <a:schemeClr val="tx1"/>
                </a:solidFill>
                <a:effectLst/>
                <a:latin typeface="Segoe UI Light" pitchFamily="34" charset="0"/>
                <a:ea typeface="+mn-ea"/>
                <a:cs typeface="+mn-cs"/>
              </a:rPr>
              <a:t>A database's status is set to </a:t>
            </a:r>
            <a:r>
              <a:rPr lang="en-US" sz="900" b="1" i="0" u="none" strike="noStrike" kern="1200" dirty="0">
                <a:solidFill>
                  <a:schemeClr val="tx1"/>
                </a:solidFill>
                <a:effectLst/>
                <a:latin typeface="Segoe UI Light" pitchFamily="34" charset="0"/>
                <a:ea typeface="+mn-ea"/>
                <a:cs typeface="+mn-cs"/>
              </a:rPr>
              <a:t>Out-of-date</a:t>
            </a:r>
            <a:r>
              <a:rPr lang="en-US" sz="900" b="0" i="0" u="none" strike="noStrike" kern="1200" dirty="0">
                <a:solidFill>
                  <a:schemeClr val="tx1"/>
                </a:solidFill>
                <a:effectLst/>
                <a:latin typeface="Segoe UI Light" pitchFamily="34" charset="0"/>
                <a:ea typeface="+mn-ea"/>
                <a:cs typeface="+mn-cs"/>
              </a:rPr>
              <a:t> when it has been offline for 45 days or more. To avoid an </a:t>
            </a:r>
            <a:r>
              <a:rPr lang="en-US" sz="900" b="1" i="0" u="none" strike="noStrike" kern="1200" dirty="0">
                <a:solidFill>
                  <a:schemeClr val="tx1"/>
                </a:solidFill>
                <a:effectLst/>
                <a:latin typeface="Segoe UI Light" pitchFamily="34" charset="0"/>
                <a:ea typeface="+mn-ea"/>
                <a:cs typeface="+mn-cs"/>
              </a:rPr>
              <a:t>Out-of-date</a:t>
            </a:r>
            <a:r>
              <a:rPr lang="en-US" sz="900" b="0" i="0" u="none" strike="noStrike" kern="1200" dirty="0">
                <a:solidFill>
                  <a:schemeClr val="tx1"/>
                </a:solidFill>
                <a:effectLst/>
                <a:latin typeface="Segoe UI Light" pitchFamily="34" charset="0"/>
                <a:ea typeface="+mn-ea"/>
                <a:cs typeface="+mn-cs"/>
              </a:rPr>
              <a:t> status on a database, ensure that none of the databases are offline for 45 days or more. </a:t>
            </a:r>
          </a:p>
          <a:p>
            <a:r>
              <a:rPr lang="en-US" sz="900" b="0" i="0" u="none" strike="noStrike" kern="1200" dirty="0">
                <a:solidFill>
                  <a:schemeClr val="tx1"/>
                </a:solidFill>
                <a:effectLst/>
                <a:latin typeface="Segoe UI Light" pitchFamily="34" charset="0"/>
                <a:ea typeface="+mn-ea"/>
                <a:cs typeface="+mn-cs"/>
              </a:rPr>
              <a:t>A sync group might fail to apply a change for one of these reasons: </a:t>
            </a:r>
          </a:p>
          <a:p>
            <a:pPr marL="388712" lvl="1" indent="-171450"/>
            <a:r>
              <a:rPr lang="en-US" b="0" i="0" u="none" strike="noStrike" kern="1200" dirty="0">
                <a:solidFill>
                  <a:schemeClr val="tx1"/>
                </a:solidFill>
                <a:effectLst/>
                <a:latin typeface="Segoe UI Light" pitchFamily="34" charset="0"/>
                <a:ea typeface="+mn-ea"/>
                <a:cs typeface="+mn-cs"/>
              </a:rPr>
              <a:t>Schema incompatibility between tables.</a:t>
            </a:r>
          </a:p>
          <a:p>
            <a:pPr marL="388712" lvl="1" indent="-171450"/>
            <a:r>
              <a:rPr lang="en-US" b="0" i="0" u="none" strike="noStrike" kern="1200" dirty="0">
                <a:solidFill>
                  <a:schemeClr val="tx1"/>
                </a:solidFill>
                <a:effectLst/>
                <a:latin typeface="Segoe UI Light" pitchFamily="34" charset="0"/>
                <a:ea typeface="+mn-ea"/>
                <a:cs typeface="+mn-cs"/>
              </a:rPr>
              <a:t>Data incompatibility between tables.</a:t>
            </a:r>
          </a:p>
          <a:p>
            <a:pPr marL="388712" lvl="1" indent="-171450"/>
            <a:r>
              <a:rPr lang="en-US" b="0" i="0" u="none" strike="noStrike" kern="1200" dirty="0">
                <a:solidFill>
                  <a:schemeClr val="tx1"/>
                </a:solidFill>
                <a:effectLst/>
                <a:latin typeface="Segoe UI Light" pitchFamily="34" charset="0"/>
                <a:ea typeface="+mn-ea"/>
                <a:cs typeface="+mn-cs"/>
              </a:rPr>
              <a:t>Inserting a row with a null value in a column that doesn't allow null values.</a:t>
            </a:r>
          </a:p>
          <a:p>
            <a:pPr marL="388712" lvl="1" indent="-171450"/>
            <a:r>
              <a:rPr lang="en-US" b="0" i="0" u="none" strike="noStrike" kern="1200" dirty="0">
                <a:solidFill>
                  <a:schemeClr val="tx1"/>
                </a:solidFill>
                <a:effectLst/>
                <a:latin typeface="Segoe UI Light" pitchFamily="34" charset="0"/>
                <a:ea typeface="+mn-ea"/>
                <a:cs typeface="+mn-cs"/>
              </a:rPr>
              <a:t>Updating a row with a value that violates a foreign key constraint.</a:t>
            </a:r>
          </a:p>
          <a:p>
            <a:r>
              <a:rPr lang="en-US" sz="900" b="0" i="0" u="none" strike="noStrike" kern="1200" dirty="0">
                <a:solidFill>
                  <a:schemeClr val="tx1"/>
                </a:solidFill>
                <a:effectLst/>
                <a:latin typeface="Segoe UI Light" pitchFamily="34" charset="0"/>
                <a:ea typeface="+mn-ea"/>
                <a:cs typeface="+mn-cs"/>
              </a:rPr>
              <a:t>To prevent out-of-date sync groups: </a:t>
            </a:r>
          </a:p>
          <a:p>
            <a:pPr marL="388712" lvl="1" indent="-171450"/>
            <a:r>
              <a:rPr lang="en-US" b="0" i="0" u="none" strike="noStrike" kern="1200" dirty="0">
                <a:solidFill>
                  <a:schemeClr val="tx1"/>
                </a:solidFill>
                <a:effectLst/>
                <a:latin typeface="Segoe UI Light" pitchFamily="34" charset="0"/>
                <a:ea typeface="+mn-ea"/>
                <a:cs typeface="+mn-cs"/>
              </a:rPr>
              <a:t>Update the schema to allow the values that are contained in the failed rows.</a:t>
            </a:r>
          </a:p>
          <a:p>
            <a:pPr marL="388712" lvl="1" indent="-171450"/>
            <a:r>
              <a:rPr lang="en-US" b="0" i="0" u="none" strike="noStrike" kern="1200" dirty="0">
                <a:solidFill>
                  <a:schemeClr val="tx1"/>
                </a:solidFill>
                <a:effectLst/>
                <a:latin typeface="Segoe UI Light" pitchFamily="34" charset="0"/>
                <a:ea typeface="+mn-ea"/>
                <a:cs typeface="+mn-cs"/>
              </a:rPr>
              <a:t>Update the foreign key values to include the values that are contained in the failed rows.</a:t>
            </a:r>
          </a:p>
          <a:p>
            <a:pPr marL="388712" lvl="1" indent="-171450"/>
            <a:r>
              <a:rPr lang="en-US" b="0" i="0" u="none" strike="noStrike" kern="1200" dirty="0">
                <a:solidFill>
                  <a:schemeClr val="tx1"/>
                </a:solidFill>
                <a:effectLst/>
                <a:latin typeface="Segoe UI Light" pitchFamily="34" charset="0"/>
                <a:ea typeface="+mn-ea"/>
                <a:cs typeface="+mn-cs"/>
              </a:rPr>
              <a:t>Update the data values in the failed row so they are compatible with the schema or foreign keys in the target database.</a:t>
            </a:r>
          </a:p>
          <a:p>
            <a:r>
              <a:rPr lang="en-US" sz="900" b="0" i="0" u="none" strike="noStrike" kern="1200" dirty="0">
                <a:solidFill>
                  <a:schemeClr val="tx1"/>
                </a:solidFill>
                <a:effectLst/>
                <a:latin typeface="Segoe UI Light" pitchFamily="34" charset="0"/>
                <a:ea typeface="+mn-ea"/>
                <a:cs typeface="+mn-cs"/>
              </a:rPr>
              <a:t>In some circumstances, unregistering a database with a client agent might cause sync to fail. </a:t>
            </a:r>
          </a:p>
          <a:p>
            <a:r>
              <a:rPr lang="en-US" sz="900" b="0" i="0" u="none" strike="noStrike" kern="1200" dirty="0">
                <a:solidFill>
                  <a:schemeClr val="tx1"/>
                </a:solidFill>
                <a:effectLst/>
                <a:latin typeface="Segoe UI Light" pitchFamily="34" charset="0"/>
                <a:ea typeface="+mn-ea"/>
                <a:cs typeface="+mn-cs"/>
              </a:rPr>
              <a:t>Don't attempt to remove a database from a sync group and then edit the sync group without first deploying one of the changes. Instead, first remove a database from a sync group. Then, deploy the change and wait for deprovisioning to finish. When deprovisioning is finished, you can edit the sync group and deploy the changes. </a:t>
            </a:r>
          </a:p>
          <a:p>
            <a:r>
              <a:rPr lang="en-US" sz="900" b="0" i="0" u="none" strike="noStrike" kern="1200" dirty="0">
                <a:solidFill>
                  <a:schemeClr val="tx1"/>
                </a:solidFill>
                <a:effectLst/>
                <a:latin typeface="Segoe UI Light" pitchFamily="34" charset="0"/>
                <a:ea typeface="+mn-ea"/>
                <a:cs typeface="+mn-cs"/>
              </a:rPr>
              <a:t>If you attempt to remove a database and then edit a sync group without first deploying one of the changes, one or the other operation fails. The portal interface might become inconsistent. If this happens, refresh the page to restore the correct state.</a:t>
            </a:r>
          </a:p>
          <a:p>
            <a:endParaRPr lang="en-US" sz="900" b="0" i="0" u="none" strike="noStrike" kern="1200" dirty="0">
              <a:solidFill>
                <a:schemeClr val="tx1"/>
              </a:solidFill>
              <a:effectLst/>
              <a:latin typeface="Segoe UI Light" pitchFamily="34" charset="0"/>
              <a:ea typeface="+mn-ea"/>
              <a:cs typeface="+mn-cs"/>
            </a:endParaRP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38822384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o check the SQL Data Sync activity log and detect errors and warnings, you previously had to check SQL Data Sync manually in the Azure portal, or use PowerShell or the REST API. Follow the steps in this article to configure a custom solution that improves the Data Sync monitoring experience. You can customize this solution to fit your scenario.</a:t>
            </a:r>
          </a:p>
          <a:p>
            <a:r>
              <a:rPr lang="en-US" sz="800" b="0" i="0" u="none" strike="noStrike" kern="1200" dirty="0">
                <a:solidFill>
                  <a:schemeClr val="tx1"/>
                </a:solidFill>
                <a:effectLst/>
                <a:latin typeface="Segoe UI Light" pitchFamily="34" charset="0"/>
                <a:ea typeface="+mn-ea"/>
                <a:cs typeface="+mn-cs"/>
              </a:rPr>
              <a:t>For an overview of SQL Data Sync, see </a:t>
            </a:r>
            <a:r>
              <a:rPr lang="en-US" sz="800" b="0" i="0" u="sng" kern="1200" dirty="0">
                <a:solidFill>
                  <a:schemeClr val="tx1"/>
                </a:solidFill>
                <a:effectLst/>
                <a:latin typeface="Segoe UI Light" pitchFamily="34" charset="0"/>
                <a:ea typeface="+mn-ea"/>
                <a:cs typeface="+mn-cs"/>
                <a:hlinkClick r:id="rId3"/>
              </a:rPr>
              <a:t>Sync data across multiple cloud and on-premises databases with Azure SQL Data Sync</a:t>
            </a:r>
            <a:r>
              <a:rPr lang="en-US" sz="800" b="0" i="0" u="none" strike="noStrike" kern="1200" dirty="0">
                <a:solidFill>
                  <a:schemeClr val="tx1"/>
                </a:solidFill>
                <a:effectLst/>
                <a:latin typeface="Segoe UI Light" pitchFamily="34" charset="0"/>
                <a:ea typeface="+mn-ea"/>
                <a:cs typeface="+mn-cs"/>
              </a:rPr>
              <a:t>.</a:t>
            </a:r>
          </a:p>
          <a:p>
            <a:endParaRPr lang="en-US" sz="800" b="0" i="0" u="none" strike="noStrike" kern="1200" dirty="0">
              <a:solidFill>
                <a:schemeClr val="tx1"/>
              </a:solidFill>
              <a:effectLst/>
              <a:latin typeface="Segoe UI Light" pitchFamily="34" charset="0"/>
              <a:ea typeface="+mn-ea"/>
              <a:cs typeface="+mn-cs"/>
            </a:endParaRP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20552812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o check the SQL Data Sync activity log and detect errors and warnings, you previously had to check SQL Data Sync manually in the Azure portal, or use PowerShell or the REST API. Follow the steps in this article to configure a custom solution that improves the Data Sync monitoring experience. You can customize this solution to fit your scenario.</a:t>
            </a:r>
          </a:p>
          <a:p>
            <a:r>
              <a:rPr lang="en-US" sz="800" b="0" i="0" u="none" strike="noStrike" kern="1200" dirty="0">
                <a:solidFill>
                  <a:schemeClr val="tx1"/>
                </a:solidFill>
                <a:effectLst/>
                <a:latin typeface="Segoe UI Light" pitchFamily="34" charset="0"/>
                <a:ea typeface="+mn-ea"/>
                <a:cs typeface="+mn-cs"/>
              </a:rPr>
              <a:t>For an overview of SQL Data Sync, see </a:t>
            </a:r>
            <a:r>
              <a:rPr lang="en-US" sz="800" b="0" i="0" u="sng" kern="1200" dirty="0">
                <a:solidFill>
                  <a:schemeClr val="tx1"/>
                </a:solidFill>
                <a:effectLst/>
                <a:latin typeface="Segoe UI Light" pitchFamily="34" charset="0"/>
                <a:ea typeface="+mn-ea"/>
                <a:cs typeface="+mn-cs"/>
                <a:hlinkClick r:id="rId3"/>
              </a:rPr>
              <a:t>Sync data across multiple cloud and on-premises databases with Azure SQL Data Sync</a:t>
            </a:r>
            <a:r>
              <a:rPr lang="en-US" sz="800" b="0" i="0" u="none" strike="noStrike" kern="1200" dirty="0">
                <a:solidFill>
                  <a:schemeClr val="tx1"/>
                </a:solidFill>
                <a:effectLst/>
                <a:latin typeface="Segoe UI Light" pitchFamily="34" charset="0"/>
                <a:ea typeface="+mn-ea"/>
                <a:cs typeface="+mn-cs"/>
              </a:rPr>
              <a:t>.</a:t>
            </a:r>
          </a:p>
          <a:p>
            <a:endParaRPr lang="en-US" sz="800" b="0" i="0" u="none" strike="noStrike" kern="1200" dirty="0">
              <a:solidFill>
                <a:schemeClr val="tx1"/>
              </a:solidFill>
              <a:effectLst/>
              <a:latin typeface="Segoe UI Light" pitchFamily="34" charset="0"/>
              <a:ea typeface="+mn-ea"/>
              <a:cs typeface="+mn-cs"/>
            </a:endParaRPr>
          </a:p>
          <a:p>
            <a:endParaRPr lang="nl-BE" sz="8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11210786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Implement a custom Azure Monitor logs monitoring solution for SQL Data Sync in less than an hour by doing the following things:</a:t>
            </a:r>
          </a:p>
          <a:p>
            <a:r>
              <a:rPr lang="en-US" sz="800" b="0" i="0" u="none" strike="noStrike" kern="1200" dirty="0">
                <a:solidFill>
                  <a:schemeClr val="tx1"/>
                </a:solidFill>
                <a:effectLst/>
                <a:latin typeface="Segoe UI Light" pitchFamily="34" charset="0"/>
                <a:ea typeface="+mn-ea"/>
                <a:cs typeface="+mn-cs"/>
              </a:rPr>
              <a:t>You need to configure three components:</a:t>
            </a:r>
            <a:endParaRPr lang="en-US" sz="800" dirty="0"/>
          </a:p>
          <a:p>
            <a:r>
              <a:rPr lang="en-US" sz="800" b="1" i="0" u="none" strike="noStrike" kern="1200" dirty="0">
                <a:solidFill>
                  <a:schemeClr val="tx1"/>
                </a:solidFill>
                <a:effectLst/>
                <a:latin typeface="Segoe UI Light" pitchFamily="34" charset="0"/>
                <a:ea typeface="+mn-ea"/>
                <a:cs typeface="+mn-cs"/>
              </a:rPr>
              <a:t>Azure Automation:</a:t>
            </a:r>
            <a:r>
              <a:rPr lang="en-US" sz="800" b="0" i="0" u="none" strike="noStrike" kern="1200" dirty="0">
                <a:solidFill>
                  <a:schemeClr val="tx1"/>
                </a:solidFill>
                <a:effectLst/>
                <a:latin typeface="Segoe UI Light" pitchFamily="34" charset="0"/>
                <a:ea typeface="+mn-ea"/>
                <a:cs typeface="+mn-cs"/>
              </a:rPr>
              <a:t> There may be a cost incurred with the Azure Automation account, depending on your usage. The first 500 minutes of job run time per month are free. In most cases, this solution is expected to use less than 500 minutes per month. To avoid charges, schedule the runbook to run at an interval of two hours or more. For more info, see </a:t>
            </a:r>
            <a:r>
              <a:rPr lang="en-US" sz="800" b="0" i="0" u="sng" strike="noStrike" kern="1200" dirty="0">
                <a:solidFill>
                  <a:schemeClr val="tx1"/>
                </a:solidFill>
                <a:effectLst/>
                <a:latin typeface="Segoe UI Light" pitchFamily="34" charset="0"/>
                <a:ea typeface="+mn-ea"/>
                <a:cs typeface="+mn-cs"/>
                <a:hlinkClick r:id="rId3"/>
              </a:rPr>
              <a:t>Automation pricing</a:t>
            </a:r>
            <a:r>
              <a:rPr lang="en-US" sz="800" b="0" i="0" u="none" strike="noStrike" kern="1200" dirty="0">
                <a:solidFill>
                  <a:schemeClr val="tx1"/>
                </a:solidFill>
                <a:effectLst/>
                <a:latin typeface="Segoe UI Light" pitchFamily="34" charset="0"/>
                <a:ea typeface="+mn-ea"/>
                <a:cs typeface="+mn-cs"/>
              </a:rPr>
              <a:t>.</a:t>
            </a:r>
          </a:p>
          <a:p>
            <a:r>
              <a:rPr lang="es-ES" b="1" dirty="0" err="1"/>
              <a:t>Automated</a:t>
            </a:r>
            <a:r>
              <a:rPr lang="es-ES" b="1" dirty="0"/>
              <a:t> Email </a:t>
            </a:r>
            <a:r>
              <a:rPr lang="es-ES" b="1" dirty="0" err="1"/>
              <a:t>notifications</a:t>
            </a:r>
            <a:endParaRPr lang="es-ES" b="1" dirty="0"/>
          </a:p>
          <a:p>
            <a:r>
              <a:rPr lang="en-US" dirty="0"/>
              <a:t>You can create alerts that go directly to the email addresses of the people that need to see them when an error occurs</a:t>
            </a:r>
          </a:p>
          <a:p>
            <a:r>
              <a:rPr lang="en-US" sz="800" b="1" i="0" u="none" strike="noStrike" kern="1200" dirty="0">
                <a:solidFill>
                  <a:schemeClr val="tx1"/>
                </a:solidFill>
                <a:effectLst/>
                <a:latin typeface="Segoe UI Light" pitchFamily="34" charset="0"/>
                <a:ea typeface="+mn-ea"/>
                <a:cs typeface="+mn-cs"/>
              </a:rPr>
              <a:t>Azure Monitor logs:</a:t>
            </a:r>
            <a:r>
              <a:rPr lang="en-US" sz="800" b="0" i="0" u="none" strike="noStrike" kern="1200" dirty="0">
                <a:solidFill>
                  <a:schemeClr val="tx1"/>
                </a:solidFill>
                <a:effectLst/>
                <a:latin typeface="Segoe UI Light" pitchFamily="34" charset="0"/>
                <a:ea typeface="+mn-ea"/>
                <a:cs typeface="+mn-cs"/>
              </a:rPr>
              <a:t> There may be a cost associated with Azure Monitor logs depending on your usage. The free tier includes 500 MB of ingested data per day. In most cases, this solution is expected to ingest less than 500 MB per day. To decrease the usage, use the failure-only filtering included in the runbook. If you are using more than 500 MB per day, upgrade to the paid tier to avoid the risk of analytics stopping when the limitation is reached. For more info, see </a:t>
            </a:r>
            <a:r>
              <a:rPr lang="en-US" sz="800" b="0" i="0" u="sng" strike="noStrike" kern="1200" dirty="0">
                <a:solidFill>
                  <a:schemeClr val="tx1"/>
                </a:solidFill>
                <a:effectLst/>
                <a:latin typeface="Segoe UI Light" pitchFamily="34" charset="0"/>
                <a:ea typeface="+mn-ea"/>
                <a:cs typeface="+mn-cs"/>
                <a:hlinkClick r:id="rId4"/>
              </a:rPr>
              <a:t>Azure Monitor logs pricing</a:t>
            </a:r>
            <a:r>
              <a:rPr lang="en-US" sz="800" b="0" i="0" u="none" strike="noStrike" kern="1200" dirty="0">
                <a:solidFill>
                  <a:schemeClr val="tx1"/>
                </a:solidFill>
                <a:effectLst/>
                <a:latin typeface="Segoe UI Light" pitchFamily="34" charset="0"/>
                <a:ea typeface="+mn-ea"/>
                <a:cs typeface="+mn-cs"/>
              </a:rPr>
              <a:t>.</a:t>
            </a:r>
          </a:p>
          <a:p>
            <a:pPr marL="0" indent="0">
              <a:buNone/>
            </a:pPr>
            <a:endParaRPr lang="en-US" sz="80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a:p>
        </p:txBody>
      </p:sp>
    </p:spTree>
    <p:extLst>
      <p:ext uri="{BB962C8B-B14F-4D97-AF65-F5344CB8AC3E}">
        <p14:creationId xmlns:p14="http://schemas.microsoft.com/office/powerpoint/2010/main" val="348761503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6L06Demo01</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Demo requirements</a:t>
            </a:r>
          </a:p>
          <a:p>
            <a:pPr marL="171450" indent="-171450">
              <a:buFontTx/>
              <a:buChar char="-"/>
            </a:pPr>
            <a:r>
              <a:rPr lang="en-US" b="0" dirty="0"/>
              <a:t>The pubs that you have created in the Lab </a:t>
            </a:r>
            <a:r>
              <a:rPr lang="en-US" sz="800" b="1" kern="1200" dirty="0">
                <a:solidFill>
                  <a:schemeClr val="tx1"/>
                </a:solidFill>
                <a:effectLst/>
                <a:latin typeface="Segoe UI Light" pitchFamily="34" charset="0"/>
                <a:ea typeface="+mn-ea"/>
                <a:cs typeface="+mn-cs"/>
              </a:rPr>
              <a:t>Migrate a Compatible SQL Server Database to Azure SQL Database</a:t>
            </a:r>
            <a:endParaRPr lang="en-US" b="0" dirty="0"/>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b="0" dirty="0"/>
              <a:t>Create a new blank database “</a:t>
            </a:r>
            <a:r>
              <a:rPr lang="en-US" b="0" dirty="0" err="1"/>
              <a:t>pubsMember</a:t>
            </a:r>
            <a:r>
              <a:rPr lang="en-US" b="0" dirty="0"/>
              <a:t>” on your logical server</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it-IT" sz="800" b="0" i="0" u="none" strike="noStrike" kern="1200" dirty="0">
                <a:solidFill>
                  <a:schemeClr val="tx1"/>
                </a:solidFill>
                <a:effectLst/>
                <a:latin typeface="Segoe UI Light" pitchFamily="34" charset="0"/>
                <a:ea typeface="+mn-ea"/>
                <a:cs typeface="+mn-cs"/>
              </a:rPr>
              <a:t>SQL Azure Data Sync Agent : </a:t>
            </a:r>
            <a:r>
              <a:rPr lang="es-ES" sz="800" b="0" i="0" kern="1200" dirty="0">
                <a:solidFill>
                  <a:schemeClr val="tx1"/>
                </a:solidFill>
                <a:effectLst/>
                <a:latin typeface="Segoe UI Light" pitchFamily="34" charset="0"/>
                <a:ea typeface="+mn-ea"/>
                <a:cs typeface="+mn-cs"/>
              </a:rPr>
              <a:t>SQLDataSyncAgent-2.0-x86-ENU.msi and </a:t>
            </a:r>
            <a:r>
              <a:rPr lang="es-ES" sz="800" b="0" i="0" u="none" strike="noStrike" kern="1200" dirty="0">
                <a:solidFill>
                  <a:schemeClr val="tx1"/>
                </a:solidFill>
                <a:effectLst/>
                <a:latin typeface="Segoe UI Light" pitchFamily="34" charset="0"/>
                <a:ea typeface="+mn-ea"/>
                <a:cs typeface="+mn-cs"/>
              </a:rPr>
              <a:t>DataSyncAgent_LicenseTerms.rtf </a:t>
            </a:r>
            <a:r>
              <a:rPr lang="nl-BE" sz="800" b="0" i="0" u="none" strike="noStrike" kern="1200" dirty="0">
                <a:solidFill>
                  <a:schemeClr val="tx1"/>
                </a:solidFill>
                <a:effectLst/>
                <a:latin typeface="Segoe UI Light" pitchFamily="34" charset="0"/>
                <a:ea typeface="+mn-ea"/>
                <a:cs typeface="+mn-cs"/>
              </a:rPr>
              <a:t>- </a:t>
            </a:r>
            <a:r>
              <a:rPr lang="en-US" b="0" dirty="0">
                <a:hlinkClick r:id="rId3"/>
              </a:rPr>
              <a:t>https://www.microsoft.com/en-us/download/details.aspx?id=27693</a:t>
            </a:r>
            <a:r>
              <a:rPr lang="en-US" b="0" dirty="0"/>
              <a:t>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ee also next slides with screenshots</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815134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800" b="0" i="0" u="none" strike="noStrike" kern="1200" dirty="0">
                <a:solidFill>
                  <a:schemeClr val="tx1"/>
                </a:solidFill>
                <a:effectLst/>
                <a:latin typeface="Segoe UI Light" pitchFamily="34" charset="0"/>
                <a:ea typeface="+mn-ea"/>
                <a:cs typeface="+mn-cs"/>
                <a:hlinkClick r:id="rId3"/>
              </a:rPr>
              <a:t>Assess</a:t>
            </a:r>
            <a:r>
              <a:rPr lang="en-US" sz="800" b="0" i="0" u="none" strike="noStrike" kern="1200" dirty="0">
                <a:solidFill>
                  <a:schemeClr val="tx1"/>
                </a:solidFill>
                <a:effectLst/>
                <a:latin typeface="Segoe UI Light" pitchFamily="34" charset="0"/>
                <a:ea typeface="+mn-ea"/>
                <a:cs typeface="+mn-cs"/>
              </a:rPr>
              <a:t> the database for compatibility by using the latest version of the </a:t>
            </a:r>
            <a:r>
              <a:rPr lang="en-US" sz="800" b="0" i="0" u="none" strike="noStrike" kern="1200" dirty="0">
                <a:solidFill>
                  <a:schemeClr val="tx1"/>
                </a:solidFill>
                <a:effectLst/>
                <a:latin typeface="Segoe UI Light" pitchFamily="34" charset="0"/>
                <a:ea typeface="+mn-ea"/>
                <a:cs typeface="+mn-cs"/>
                <a:hlinkClick r:id="rId4"/>
              </a:rPr>
              <a:t>Data Migration Assistant (DMA)</a:t>
            </a:r>
            <a:r>
              <a:rPr lang="en-US" sz="800" b="0" i="0" u="none" strike="noStrike" kern="1200" dirty="0">
                <a:solidFill>
                  <a:schemeClr val="tx1"/>
                </a:solidFill>
                <a:effectLst/>
                <a:latin typeface="Segoe UI Light" pitchFamily="34" charset="0"/>
                <a:ea typeface="+mn-ea"/>
                <a:cs typeface="+mn-cs"/>
              </a:rPr>
              <a:t>.</a:t>
            </a:r>
          </a:p>
          <a:p>
            <a:pPr marL="228600" indent="-228600">
              <a:buFont typeface="+mj-lt"/>
              <a:buAutoNum type="arabicPeriod"/>
            </a:pPr>
            <a:r>
              <a:rPr lang="en-US" sz="800" b="0" i="0" u="none" strike="noStrike" kern="1200" dirty="0">
                <a:solidFill>
                  <a:schemeClr val="tx1"/>
                </a:solidFill>
                <a:effectLst/>
                <a:latin typeface="Segoe UI Light" pitchFamily="34" charset="0"/>
                <a:ea typeface="+mn-ea"/>
                <a:cs typeface="+mn-cs"/>
              </a:rPr>
              <a:t>Prepare any necessary fixes as Transact-SQL scripts.</a:t>
            </a:r>
          </a:p>
          <a:p>
            <a:pPr marL="228600" indent="-228600">
              <a:buFont typeface="+mj-lt"/>
              <a:buAutoNum type="arabicPeriod"/>
            </a:pPr>
            <a:r>
              <a:rPr lang="en-US" sz="800" b="0" i="0" u="none" strike="noStrike" kern="1200" dirty="0">
                <a:solidFill>
                  <a:schemeClr val="tx1"/>
                </a:solidFill>
                <a:effectLst/>
                <a:latin typeface="Segoe UI Light" pitchFamily="34" charset="0"/>
                <a:ea typeface="+mn-ea"/>
                <a:cs typeface="+mn-cs"/>
              </a:rPr>
              <a:t>Make a </a:t>
            </a:r>
            <a:r>
              <a:rPr lang="en-US" sz="800" b="0" i="0" u="none" strike="noStrike" kern="1200" dirty="0" err="1">
                <a:solidFill>
                  <a:schemeClr val="tx1"/>
                </a:solidFill>
                <a:effectLst/>
                <a:latin typeface="Segoe UI Light" pitchFamily="34" charset="0"/>
                <a:ea typeface="+mn-ea"/>
                <a:cs typeface="+mn-cs"/>
              </a:rPr>
              <a:t>transactionally</a:t>
            </a:r>
            <a:r>
              <a:rPr lang="en-US" sz="800" b="0" i="0" u="none" strike="noStrike" kern="1200" dirty="0">
                <a:solidFill>
                  <a:schemeClr val="tx1"/>
                </a:solidFill>
                <a:effectLst/>
                <a:latin typeface="Segoe UI Light" pitchFamily="34" charset="0"/>
                <a:ea typeface="+mn-ea"/>
                <a:cs typeface="+mn-cs"/>
              </a:rPr>
              <a:t> consistent copy of the source database being migrated or halt new transactions from occurring in the source database while migration is occurring. Methods to accomplish this latter option include disabling client connectivity or creating a </a:t>
            </a:r>
            <a:r>
              <a:rPr lang="en-US" sz="800" b="0" i="0" u="none" strike="noStrike" kern="1200" dirty="0">
                <a:solidFill>
                  <a:schemeClr val="tx1"/>
                </a:solidFill>
                <a:effectLst/>
                <a:latin typeface="Segoe UI Light" pitchFamily="34" charset="0"/>
                <a:ea typeface="+mn-ea"/>
                <a:cs typeface="+mn-cs"/>
                <a:hlinkClick r:id="rId5"/>
              </a:rPr>
              <a:t>database snapshot</a:t>
            </a:r>
            <a:r>
              <a:rPr lang="en-US" sz="800" b="0" i="0" u="none" strike="noStrike" kern="1200" dirty="0">
                <a:solidFill>
                  <a:schemeClr val="tx1"/>
                </a:solidFill>
                <a:effectLst/>
                <a:latin typeface="Segoe UI Light" pitchFamily="34" charset="0"/>
                <a:ea typeface="+mn-ea"/>
                <a:cs typeface="+mn-cs"/>
              </a:rPr>
              <a:t>. After migration, you may be able to use transactional replication to update the migrated databases with changes that occur after the cutoff point for the migration. See </a:t>
            </a:r>
            <a:r>
              <a:rPr lang="en-US" sz="800" b="0" i="0" u="none" strike="noStrike" kern="1200" dirty="0">
                <a:solidFill>
                  <a:schemeClr val="tx1"/>
                </a:solidFill>
                <a:effectLst/>
                <a:latin typeface="Segoe UI Light" pitchFamily="34" charset="0"/>
                <a:ea typeface="+mn-ea"/>
                <a:cs typeface="+mn-cs"/>
                <a:hlinkClick r:id="rId6"/>
              </a:rPr>
              <a:t>Migrate using Transactional Migration</a:t>
            </a:r>
            <a:r>
              <a:rPr lang="en-US" sz="800" b="0" i="0" u="none" strike="noStrike" kern="1200" dirty="0">
                <a:solidFill>
                  <a:schemeClr val="tx1"/>
                </a:solidFill>
                <a:effectLst/>
                <a:latin typeface="Segoe UI Light" pitchFamily="34" charset="0"/>
                <a:ea typeface="+mn-ea"/>
                <a:cs typeface="+mn-cs"/>
              </a:rPr>
              <a:t>. </a:t>
            </a:r>
          </a:p>
          <a:p>
            <a:pPr marL="228600" indent="-228600">
              <a:buFont typeface="+mj-lt"/>
              <a:buAutoNum type="arabicPeriod"/>
            </a:pPr>
            <a:r>
              <a:rPr lang="en-US" sz="800" b="0" i="0" u="none" strike="noStrike" kern="1200" dirty="0">
                <a:solidFill>
                  <a:schemeClr val="tx1"/>
                </a:solidFill>
                <a:effectLst/>
                <a:latin typeface="Segoe UI Light" pitchFamily="34" charset="0"/>
                <a:ea typeface="+mn-ea"/>
                <a:cs typeface="+mn-cs"/>
              </a:rPr>
              <a:t>Deploy the Transact-SQL scripts to apply the fixes to the database copy.</a:t>
            </a:r>
          </a:p>
          <a:p>
            <a:pPr marL="228600" indent="-228600">
              <a:buFont typeface="+mj-lt"/>
              <a:buAutoNum type="arabicPeriod"/>
            </a:pPr>
            <a:r>
              <a:rPr lang="en-US" sz="800" b="0" i="0" u="none" strike="noStrike" kern="1200" dirty="0">
                <a:solidFill>
                  <a:schemeClr val="tx1"/>
                </a:solidFill>
                <a:effectLst/>
                <a:latin typeface="Segoe UI Light" pitchFamily="34" charset="0"/>
                <a:ea typeface="+mn-ea"/>
                <a:cs typeface="+mn-cs"/>
                <a:hlinkClick r:id="rId7"/>
              </a:rPr>
              <a:t>Migrate</a:t>
            </a:r>
            <a:r>
              <a:rPr lang="en-US" sz="800" b="0" i="0" u="none" strike="noStrike" kern="1200" dirty="0">
                <a:solidFill>
                  <a:schemeClr val="tx1"/>
                </a:solidFill>
                <a:effectLst/>
                <a:latin typeface="Segoe UI Light" pitchFamily="34" charset="0"/>
                <a:ea typeface="+mn-ea"/>
                <a:cs typeface="+mn-cs"/>
              </a:rPr>
              <a:t> the database copy to a new Azure SQL Database by using the Data Migration Assistan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2805593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Locate the Data Sync settings</a:t>
            </a:r>
          </a:p>
          <a:p>
            <a:r>
              <a:rPr lang="en-US" sz="900" b="0" i="0" u="none" strike="noStrike" kern="1200" dirty="0">
                <a:solidFill>
                  <a:schemeClr val="tx1"/>
                </a:solidFill>
                <a:effectLst/>
                <a:latin typeface="Segoe UI Light" pitchFamily="34" charset="0"/>
                <a:ea typeface="+mn-ea"/>
                <a:cs typeface="+mn-cs"/>
              </a:rPr>
              <a:t>In your browser, navigate to the Azure portal.</a:t>
            </a:r>
          </a:p>
          <a:p>
            <a:r>
              <a:rPr lang="en-US" sz="900" b="0" i="0" u="none" strike="noStrike" kern="1200" dirty="0">
                <a:solidFill>
                  <a:schemeClr val="tx1"/>
                </a:solidFill>
                <a:effectLst/>
                <a:latin typeface="Segoe UI Light" pitchFamily="34" charset="0"/>
                <a:ea typeface="+mn-ea"/>
                <a:cs typeface="+mn-cs"/>
              </a:rPr>
              <a:t>In the portal, locate your SQL databases from your Dashboard or from the SQL Databases icon on the toolbar.</a:t>
            </a:r>
          </a:p>
          <a:p>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SQL databases</a:t>
            </a:r>
            <a:r>
              <a:rPr lang="en-US" sz="900" b="0" i="0" u="none" strike="noStrike" kern="1200" dirty="0">
                <a:solidFill>
                  <a:schemeClr val="tx1"/>
                </a:solidFill>
                <a:effectLst/>
                <a:latin typeface="Segoe UI Light" pitchFamily="34" charset="0"/>
                <a:ea typeface="+mn-ea"/>
                <a:cs typeface="+mn-cs"/>
              </a:rPr>
              <a:t> page, select the existing SQL database that you want to use as the hub database for Data Sync. The SQL database page opens.</a:t>
            </a:r>
          </a:p>
          <a:p>
            <a:r>
              <a:rPr lang="en-US" sz="900" b="0" i="0" u="none" strike="noStrike" kern="1200" dirty="0">
                <a:solidFill>
                  <a:schemeClr val="tx1"/>
                </a:solidFill>
                <a:effectLst/>
                <a:latin typeface="Segoe UI Light" pitchFamily="34" charset="0"/>
                <a:ea typeface="+mn-ea"/>
                <a:cs typeface="+mn-cs"/>
              </a:rPr>
              <a:t>On the SQL database page for the selected database, select </a:t>
            </a:r>
            <a:r>
              <a:rPr lang="en-US" sz="900" b="1" i="0" u="none" strike="noStrike" kern="1200" dirty="0">
                <a:solidFill>
                  <a:schemeClr val="tx1"/>
                </a:solidFill>
                <a:effectLst/>
                <a:latin typeface="Segoe UI Light" pitchFamily="34" charset="0"/>
                <a:ea typeface="+mn-ea"/>
                <a:cs typeface="+mn-cs"/>
              </a:rPr>
              <a:t>Sync to other databases</a:t>
            </a:r>
            <a:r>
              <a:rPr lang="en-US" sz="900" b="0" i="0" u="none" strike="noStrike" kern="1200" dirty="0">
                <a:solidFill>
                  <a:schemeClr val="tx1"/>
                </a:solidFill>
                <a:effectLst/>
                <a:latin typeface="Segoe UI Light" pitchFamily="34" charset="0"/>
                <a:ea typeface="+mn-ea"/>
                <a:cs typeface="+mn-cs"/>
              </a:rPr>
              <a:t>. The Data Sync page opens.</a:t>
            </a:r>
          </a:p>
          <a:p>
            <a:endParaRPr lang="en-US" dirty="0"/>
          </a:p>
          <a:p>
            <a:r>
              <a:rPr lang="en-US" sz="900" b="0" i="0" u="none" strike="noStrike" kern="1200" dirty="0">
                <a:solidFill>
                  <a:schemeClr val="tx1"/>
                </a:solidFill>
                <a:effectLst/>
                <a:latin typeface="Segoe UI Light" pitchFamily="34" charset="0"/>
                <a:ea typeface="+mn-ea"/>
                <a:cs typeface="+mn-cs"/>
              </a:rPr>
              <a:t>On the Data Sync page, select </a:t>
            </a:r>
            <a:r>
              <a:rPr lang="en-US" sz="900" b="1" i="0" u="none" strike="noStrike" kern="1200" dirty="0">
                <a:solidFill>
                  <a:schemeClr val="tx1"/>
                </a:solidFill>
                <a:effectLst/>
                <a:latin typeface="Segoe UI Light" pitchFamily="34" charset="0"/>
                <a:ea typeface="+mn-ea"/>
                <a:cs typeface="+mn-cs"/>
              </a:rPr>
              <a:t>New Sync Group</a:t>
            </a:r>
            <a:r>
              <a:rPr lang="en-US" sz="900" b="0" i="0" u="none" strike="noStrike" kern="1200" dirty="0">
                <a:solidFill>
                  <a:schemeClr val="tx1"/>
                </a:solidFill>
                <a:effectLst/>
                <a:latin typeface="Segoe UI Light" pitchFamily="34" charset="0"/>
                <a:ea typeface="+mn-ea"/>
                <a:cs typeface="+mn-cs"/>
              </a:rPr>
              <a:t>. The </a:t>
            </a:r>
            <a:r>
              <a:rPr lang="en-US" sz="900" b="1" i="0" u="none" strike="noStrike" kern="1200" dirty="0">
                <a:solidFill>
                  <a:schemeClr val="tx1"/>
                </a:solidFill>
                <a:effectLst/>
                <a:latin typeface="Segoe UI Light" pitchFamily="34" charset="0"/>
                <a:ea typeface="+mn-ea"/>
                <a:cs typeface="+mn-cs"/>
              </a:rPr>
              <a:t>New sync group</a:t>
            </a:r>
            <a:r>
              <a:rPr lang="en-US" sz="900" b="0" i="0" u="none" strike="noStrike" kern="1200" dirty="0">
                <a:solidFill>
                  <a:schemeClr val="tx1"/>
                </a:solidFill>
                <a:effectLst/>
                <a:latin typeface="Segoe UI Light" pitchFamily="34" charset="0"/>
                <a:ea typeface="+mn-ea"/>
                <a:cs typeface="+mn-cs"/>
              </a:rPr>
              <a:t> page opens with Step 1, </a:t>
            </a:r>
            <a:r>
              <a:rPr lang="en-US" sz="900" b="1" i="0" u="none" strike="noStrike" kern="1200" dirty="0">
                <a:solidFill>
                  <a:schemeClr val="tx1"/>
                </a:solidFill>
                <a:effectLst/>
                <a:latin typeface="Segoe UI Light" pitchFamily="34" charset="0"/>
                <a:ea typeface="+mn-ea"/>
                <a:cs typeface="+mn-cs"/>
              </a:rPr>
              <a:t>Create sync group</a:t>
            </a:r>
            <a:r>
              <a:rPr lang="en-US" sz="900" b="0" i="0" u="none" strike="noStrike" kern="1200" dirty="0">
                <a:solidFill>
                  <a:schemeClr val="tx1"/>
                </a:solidFill>
                <a:effectLst/>
                <a:latin typeface="Segoe UI Light" pitchFamily="34" charset="0"/>
                <a:ea typeface="+mn-ea"/>
                <a:cs typeface="+mn-cs"/>
              </a:rPr>
              <a:t>, highlighted. The </a:t>
            </a:r>
            <a:r>
              <a:rPr lang="en-US" sz="900" b="1" i="0" u="none" strike="noStrike" kern="1200" dirty="0">
                <a:solidFill>
                  <a:schemeClr val="tx1"/>
                </a:solidFill>
                <a:effectLst/>
                <a:latin typeface="Segoe UI Light" pitchFamily="34" charset="0"/>
                <a:ea typeface="+mn-ea"/>
                <a:cs typeface="+mn-cs"/>
              </a:rPr>
              <a:t>Create Data Sync Group</a:t>
            </a:r>
            <a:r>
              <a:rPr lang="en-US" sz="900" b="0" i="0" u="none" strike="noStrike" kern="1200" dirty="0">
                <a:solidFill>
                  <a:schemeClr val="tx1"/>
                </a:solidFill>
                <a:effectLst/>
                <a:latin typeface="Segoe UI Light" pitchFamily="34" charset="0"/>
                <a:ea typeface="+mn-ea"/>
                <a:cs typeface="+mn-cs"/>
              </a:rPr>
              <a:t> page also opens.</a:t>
            </a:r>
          </a:p>
          <a:p>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Create Data Sync Group</a:t>
            </a:r>
            <a:r>
              <a:rPr lang="en-US" sz="900" b="0" i="0" u="none" strike="noStrike" kern="1200" dirty="0">
                <a:solidFill>
                  <a:schemeClr val="tx1"/>
                </a:solidFill>
                <a:effectLst/>
                <a:latin typeface="Segoe UI Light" pitchFamily="34" charset="0"/>
                <a:ea typeface="+mn-ea"/>
                <a:cs typeface="+mn-cs"/>
              </a:rPr>
              <a:t> page, do the following things:</a:t>
            </a:r>
          </a:p>
          <a:p>
            <a:pPr lvl="1"/>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Sync Group Name</a:t>
            </a:r>
            <a:r>
              <a:rPr lang="en-US" sz="900" b="0" i="0" u="none" strike="noStrike" kern="1200" dirty="0">
                <a:solidFill>
                  <a:schemeClr val="tx1"/>
                </a:solidFill>
                <a:effectLst/>
                <a:latin typeface="Segoe UI Light" pitchFamily="34" charset="0"/>
                <a:ea typeface="+mn-ea"/>
                <a:cs typeface="+mn-cs"/>
              </a:rPr>
              <a:t> field, enter a name for the new sync group.</a:t>
            </a:r>
          </a:p>
          <a:p>
            <a:pPr lvl="1"/>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Sync Metadata Database</a:t>
            </a:r>
            <a:r>
              <a:rPr lang="en-US" sz="900" b="0" i="0" u="none" strike="noStrike" kern="1200" dirty="0">
                <a:solidFill>
                  <a:schemeClr val="tx1"/>
                </a:solidFill>
                <a:effectLst/>
                <a:latin typeface="Segoe UI Light" pitchFamily="34" charset="0"/>
                <a:ea typeface="+mn-ea"/>
                <a:cs typeface="+mn-cs"/>
              </a:rPr>
              <a:t> section, choose whether to create a new database (recommended) or to use an existing database.</a:t>
            </a:r>
          </a:p>
          <a:p>
            <a:pPr lvl="1"/>
            <a:r>
              <a:rPr lang="en-US" sz="900" b="0" i="0" u="none" strike="noStrike" kern="1200" dirty="0">
                <a:solidFill>
                  <a:schemeClr val="tx1"/>
                </a:solidFill>
                <a:effectLst/>
                <a:latin typeface="Segoe UI Light" pitchFamily="34" charset="0"/>
                <a:ea typeface="+mn-ea"/>
                <a:cs typeface="+mn-cs"/>
              </a:rPr>
              <a:t>Note</a:t>
            </a:r>
          </a:p>
          <a:p>
            <a:pPr lvl="1"/>
            <a:r>
              <a:rPr lang="en-US" sz="900" b="0" i="0" u="none" strike="noStrike" kern="1200" dirty="0">
                <a:solidFill>
                  <a:schemeClr val="tx1"/>
                </a:solidFill>
                <a:effectLst/>
                <a:latin typeface="Segoe UI Light" pitchFamily="34" charset="0"/>
                <a:ea typeface="+mn-ea"/>
                <a:cs typeface="+mn-cs"/>
              </a:rPr>
              <a:t>Microsoft recommends that you create a new, empty database to use as the Sync Metadata Database. Data Sync creates tables in this database and runs a frequent workload. This database is automatically shared as the Sync Metadata Database for all of your Sync groups in the selected region. You can't change the Sync Metadata Database or its name without dropping it.</a:t>
            </a:r>
          </a:p>
          <a:p>
            <a:pPr lvl="1"/>
            <a:r>
              <a:rPr lang="en-US" sz="900" b="0" i="0" u="none" strike="noStrike" kern="1200" dirty="0">
                <a:solidFill>
                  <a:schemeClr val="tx1"/>
                </a:solidFill>
                <a:effectLst/>
                <a:latin typeface="Segoe UI Light" pitchFamily="34" charset="0"/>
                <a:ea typeface="+mn-ea"/>
                <a:cs typeface="+mn-cs"/>
              </a:rPr>
              <a:t>If you chose </a:t>
            </a:r>
            <a:r>
              <a:rPr lang="en-US" sz="900" b="1" i="0" u="none" strike="noStrike" kern="1200" dirty="0">
                <a:solidFill>
                  <a:schemeClr val="tx1"/>
                </a:solidFill>
                <a:effectLst/>
                <a:latin typeface="Segoe UI Light" pitchFamily="34" charset="0"/>
                <a:ea typeface="+mn-ea"/>
                <a:cs typeface="+mn-cs"/>
              </a:rPr>
              <a:t>New database</a:t>
            </a:r>
            <a:r>
              <a:rPr lang="en-US" sz="900" b="0" i="0" u="none" strike="noStrike" kern="1200" dirty="0">
                <a:solidFill>
                  <a:schemeClr val="tx1"/>
                </a:solidFill>
                <a:effectLst/>
                <a:latin typeface="Segoe UI Light" pitchFamily="34" charset="0"/>
                <a:ea typeface="+mn-ea"/>
                <a:cs typeface="+mn-cs"/>
              </a:rPr>
              <a:t>, select </a:t>
            </a:r>
            <a:r>
              <a:rPr lang="en-US" sz="900" b="1" i="0" u="none" strike="noStrike" kern="1200" dirty="0">
                <a:solidFill>
                  <a:schemeClr val="tx1"/>
                </a:solidFill>
                <a:effectLst/>
                <a:latin typeface="Segoe UI Light" pitchFamily="34" charset="0"/>
                <a:ea typeface="+mn-ea"/>
                <a:cs typeface="+mn-cs"/>
              </a:rPr>
              <a:t>Create new database.</a:t>
            </a:r>
            <a:r>
              <a:rPr lang="en-US" sz="900" b="0" i="0" u="none" strike="noStrike" kern="1200" dirty="0">
                <a:solidFill>
                  <a:schemeClr val="tx1"/>
                </a:solidFill>
                <a:effectLst/>
                <a:latin typeface="Segoe UI Light" pitchFamily="34" charset="0"/>
                <a:ea typeface="+mn-ea"/>
                <a:cs typeface="+mn-cs"/>
              </a:rPr>
              <a:t> The </a:t>
            </a:r>
            <a:r>
              <a:rPr lang="en-US" sz="900" b="1" i="0" u="none" strike="noStrike" kern="1200" dirty="0">
                <a:solidFill>
                  <a:schemeClr val="tx1"/>
                </a:solidFill>
                <a:effectLst/>
                <a:latin typeface="Segoe UI Light" pitchFamily="34" charset="0"/>
                <a:ea typeface="+mn-ea"/>
                <a:cs typeface="+mn-cs"/>
              </a:rPr>
              <a:t>SQL Database</a:t>
            </a:r>
            <a:r>
              <a:rPr lang="en-US" sz="900" b="0" i="0" u="none" strike="noStrike" kern="1200" dirty="0">
                <a:solidFill>
                  <a:schemeClr val="tx1"/>
                </a:solidFill>
                <a:effectLst/>
                <a:latin typeface="Segoe UI Light" pitchFamily="34" charset="0"/>
                <a:ea typeface="+mn-ea"/>
                <a:cs typeface="+mn-cs"/>
              </a:rPr>
              <a:t> page opens. On the </a:t>
            </a:r>
            <a:r>
              <a:rPr lang="en-US" sz="900" b="1" i="0" u="none" strike="noStrike" kern="1200" dirty="0">
                <a:solidFill>
                  <a:schemeClr val="tx1"/>
                </a:solidFill>
                <a:effectLst/>
                <a:latin typeface="Segoe UI Light" pitchFamily="34" charset="0"/>
                <a:ea typeface="+mn-ea"/>
                <a:cs typeface="+mn-cs"/>
              </a:rPr>
              <a:t>SQL Database</a:t>
            </a:r>
            <a:r>
              <a:rPr lang="en-US" sz="900" b="0" i="0" u="none" strike="noStrike" kern="1200" dirty="0">
                <a:solidFill>
                  <a:schemeClr val="tx1"/>
                </a:solidFill>
                <a:effectLst/>
                <a:latin typeface="Segoe UI Light" pitchFamily="34" charset="0"/>
                <a:ea typeface="+mn-ea"/>
                <a:cs typeface="+mn-cs"/>
              </a:rPr>
              <a:t> page, name and configure the new database. Then select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a:t>
            </a:r>
          </a:p>
          <a:p>
            <a:pPr lvl="1"/>
            <a:r>
              <a:rPr lang="en-US" sz="900" b="0" i="0" u="none" strike="noStrike" kern="1200" dirty="0">
                <a:solidFill>
                  <a:schemeClr val="tx1"/>
                </a:solidFill>
                <a:effectLst/>
                <a:latin typeface="Segoe UI Light" pitchFamily="34" charset="0"/>
                <a:ea typeface="+mn-ea"/>
                <a:cs typeface="+mn-cs"/>
              </a:rPr>
              <a:t>If you chose </a:t>
            </a:r>
            <a:r>
              <a:rPr lang="en-US" sz="900" b="1" i="0" u="none" strike="noStrike" kern="1200" dirty="0">
                <a:solidFill>
                  <a:schemeClr val="tx1"/>
                </a:solidFill>
                <a:effectLst/>
                <a:latin typeface="Segoe UI Light" pitchFamily="34" charset="0"/>
                <a:ea typeface="+mn-ea"/>
                <a:cs typeface="+mn-cs"/>
              </a:rPr>
              <a:t>Use existing database</a:t>
            </a:r>
            <a:r>
              <a:rPr lang="en-US" sz="900" b="0" i="0" u="none" strike="noStrike" kern="1200" dirty="0">
                <a:solidFill>
                  <a:schemeClr val="tx1"/>
                </a:solidFill>
                <a:effectLst/>
                <a:latin typeface="Segoe UI Light" pitchFamily="34" charset="0"/>
                <a:ea typeface="+mn-ea"/>
                <a:cs typeface="+mn-cs"/>
              </a:rPr>
              <a:t>, select the database from the list.</a:t>
            </a:r>
          </a:p>
          <a:p>
            <a:pPr lvl="1"/>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Automatic Sync</a:t>
            </a:r>
            <a:r>
              <a:rPr lang="en-US" sz="900" b="0" i="0" u="none" strike="noStrike" kern="1200" dirty="0">
                <a:solidFill>
                  <a:schemeClr val="tx1"/>
                </a:solidFill>
                <a:effectLst/>
                <a:latin typeface="Segoe UI Light" pitchFamily="34" charset="0"/>
                <a:ea typeface="+mn-ea"/>
                <a:cs typeface="+mn-cs"/>
              </a:rPr>
              <a:t> section, first select </a:t>
            </a:r>
            <a:r>
              <a:rPr lang="en-US" sz="900" b="1" i="0" u="none" strike="noStrike" kern="1200" dirty="0">
                <a:solidFill>
                  <a:schemeClr val="tx1"/>
                </a:solidFill>
                <a:effectLst/>
                <a:latin typeface="Segoe UI Light" pitchFamily="34" charset="0"/>
                <a:ea typeface="+mn-ea"/>
                <a:cs typeface="+mn-cs"/>
              </a:rPr>
              <a:t>On</a:t>
            </a:r>
            <a:r>
              <a:rPr lang="en-US" sz="900" b="0" i="0" u="none" strike="noStrike" kern="1200" dirty="0">
                <a:solidFill>
                  <a:schemeClr val="tx1"/>
                </a:solidFill>
                <a:effectLst/>
                <a:latin typeface="Segoe UI Light" pitchFamily="34" charset="0"/>
                <a:ea typeface="+mn-ea"/>
                <a:cs typeface="+mn-cs"/>
              </a:rPr>
              <a:t> or </a:t>
            </a:r>
            <a:r>
              <a:rPr lang="en-US" sz="900" b="1" i="0" u="none" strike="noStrike" kern="1200" dirty="0">
                <a:solidFill>
                  <a:schemeClr val="tx1"/>
                </a:solidFill>
                <a:effectLst/>
                <a:latin typeface="Segoe UI Light" pitchFamily="34" charset="0"/>
                <a:ea typeface="+mn-ea"/>
                <a:cs typeface="+mn-cs"/>
              </a:rPr>
              <a:t>Off</a:t>
            </a:r>
            <a:r>
              <a:rPr lang="en-US" sz="900" b="0" i="0" u="none" strike="noStrike" kern="1200" dirty="0">
                <a:solidFill>
                  <a:schemeClr val="tx1"/>
                </a:solidFill>
                <a:effectLst/>
                <a:latin typeface="Segoe UI Light" pitchFamily="34" charset="0"/>
                <a:ea typeface="+mn-ea"/>
                <a:cs typeface="+mn-cs"/>
              </a:rPr>
              <a:t>.</a:t>
            </a:r>
          </a:p>
          <a:p>
            <a:pPr lvl="1"/>
            <a:r>
              <a:rPr lang="en-US" sz="900" b="0" i="0" u="none" strike="noStrike" kern="1200" dirty="0">
                <a:solidFill>
                  <a:schemeClr val="tx1"/>
                </a:solidFill>
                <a:effectLst/>
                <a:latin typeface="Segoe UI Light" pitchFamily="34" charset="0"/>
                <a:ea typeface="+mn-ea"/>
                <a:cs typeface="+mn-cs"/>
              </a:rPr>
              <a:t>If you chose </a:t>
            </a:r>
            <a:r>
              <a:rPr lang="en-US" sz="900" b="1" i="0" u="none" strike="noStrike" kern="1200" dirty="0">
                <a:solidFill>
                  <a:schemeClr val="tx1"/>
                </a:solidFill>
                <a:effectLst/>
                <a:latin typeface="Segoe UI Light" pitchFamily="34" charset="0"/>
                <a:ea typeface="+mn-ea"/>
                <a:cs typeface="+mn-cs"/>
              </a:rPr>
              <a:t>On</a:t>
            </a:r>
            <a:r>
              <a:rPr lang="en-US" sz="900" b="0" i="0" u="none" strike="noStrike" kern="1200" dirty="0">
                <a:solidFill>
                  <a:schemeClr val="tx1"/>
                </a:solidFill>
                <a:effectLst/>
                <a:latin typeface="Segoe UI Light" pitchFamily="34" charset="0"/>
                <a:ea typeface="+mn-ea"/>
                <a:cs typeface="+mn-cs"/>
              </a:rPr>
              <a:t>, in the </a:t>
            </a:r>
            <a:r>
              <a:rPr lang="en-US" sz="900" b="1" i="0" u="none" strike="noStrike" kern="1200" dirty="0">
                <a:solidFill>
                  <a:schemeClr val="tx1"/>
                </a:solidFill>
                <a:effectLst/>
                <a:latin typeface="Segoe UI Light" pitchFamily="34" charset="0"/>
                <a:ea typeface="+mn-ea"/>
                <a:cs typeface="+mn-cs"/>
              </a:rPr>
              <a:t>Sync Frequency</a:t>
            </a:r>
            <a:r>
              <a:rPr lang="en-US" sz="900" b="0" i="0" u="none" strike="noStrike" kern="1200" dirty="0">
                <a:solidFill>
                  <a:schemeClr val="tx1"/>
                </a:solidFill>
                <a:effectLst/>
                <a:latin typeface="Segoe UI Light" pitchFamily="34" charset="0"/>
                <a:ea typeface="+mn-ea"/>
                <a:cs typeface="+mn-cs"/>
              </a:rPr>
              <a:t> section, enter a number and select Seconds, Minutes, Hours, or Days.</a:t>
            </a:r>
          </a:p>
          <a:p>
            <a:pPr lvl="1"/>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Conflict Resolution</a:t>
            </a:r>
            <a:r>
              <a:rPr lang="en-US" sz="900" b="0" i="0" u="none" strike="noStrike" kern="1200" dirty="0">
                <a:solidFill>
                  <a:schemeClr val="tx1"/>
                </a:solidFill>
                <a:effectLst/>
                <a:latin typeface="Segoe UI Light" pitchFamily="34" charset="0"/>
                <a:ea typeface="+mn-ea"/>
                <a:cs typeface="+mn-cs"/>
              </a:rPr>
              <a:t> section, select "Hub wins" or "Member wins."</a:t>
            </a:r>
          </a:p>
          <a:p>
            <a:pPr lvl="1"/>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 and wait for the new sync group to be created and deploye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a:p>
        </p:txBody>
      </p:sp>
    </p:spTree>
    <p:extLst>
      <p:ext uri="{BB962C8B-B14F-4D97-AF65-F5344CB8AC3E}">
        <p14:creationId xmlns:p14="http://schemas.microsoft.com/office/powerpoint/2010/main" val="36576665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dd an Azure SQL Database</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Member Database</a:t>
            </a:r>
            <a:r>
              <a:rPr lang="en-US" sz="800" b="0" i="0" u="none" strike="noStrike" kern="1200" dirty="0">
                <a:solidFill>
                  <a:schemeClr val="tx1"/>
                </a:solidFill>
                <a:effectLst/>
                <a:latin typeface="Segoe UI Light" pitchFamily="34" charset="0"/>
                <a:ea typeface="+mn-ea"/>
                <a:cs typeface="+mn-cs"/>
              </a:rPr>
              <a:t> section, optionally add an Azure SQL Database to the sync group by selecting </a:t>
            </a:r>
            <a:r>
              <a:rPr lang="en-US" sz="800" b="1" i="0" u="none" strike="noStrike" kern="1200" dirty="0">
                <a:solidFill>
                  <a:schemeClr val="tx1"/>
                </a:solidFill>
                <a:effectLst/>
                <a:latin typeface="Segoe UI Light" pitchFamily="34" charset="0"/>
                <a:ea typeface="+mn-ea"/>
                <a:cs typeface="+mn-cs"/>
              </a:rPr>
              <a:t>Add an Azure Database</a:t>
            </a:r>
            <a:r>
              <a:rPr lang="en-US" sz="800" b="0" i="0" u="none" strike="noStrike" kern="1200" dirty="0">
                <a:solidFill>
                  <a:schemeClr val="tx1"/>
                </a:solidFill>
                <a:effectLst/>
                <a:latin typeface="Segoe UI Light" pitchFamily="34" charset="0"/>
                <a:ea typeface="+mn-ea"/>
                <a:cs typeface="+mn-cs"/>
              </a:rPr>
              <a:t>. The </a:t>
            </a:r>
            <a:r>
              <a:rPr lang="en-US" sz="800" b="1" i="0" u="none" strike="noStrike" kern="1200" dirty="0">
                <a:solidFill>
                  <a:schemeClr val="tx1"/>
                </a:solidFill>
                <a:effectLst/>
                <a:latin typeface="Segoe UI Light" pitchFamily="34" charset="0"/>
                <a:ea typeface="+mn-ea"/>
                <a:cs typeface="+mn-cs"/>
              </a:rPr>
              <a:t>Configure Azure Database</a:t>
            </a:r>
            <a:r>
              <a:rPr lang="en-US" sz="800" b="0" i="0" u="none" strike="noStrike" kern="1200" dirty="0">
                <a:solidFill>
                  <a:schemeClr val="tx1"/>
                </a:solidFill>
                <a:effectLst/>
                <a:latin typeface="Segoe UI Light" pitchFamily="34" charset="0"/>
                <a:ea typeface="+mn-ea"/>
                <a:cs typeface="+mn-cs"/>
              </a:rPr>
              <a:t> page opens.</a:t>
            </a:r>
          </a:p>
          <a:p>
            <a:r>
              <a:rPr lang="en-US" sz="800" b="0" i="0" u="none" strike="noStrike" kern="1200" dirty="0">
                <a:solidFill>
                  <a:schemeClr val="tx1"/>
                </a:solidFill>
                <a:effectLst/>
                <a:latin typeface="Segoe UI Light" pitchFamily="34" charset="0"/>
                <a:ea typeface="+mn-ea"/>
                <a:cs typeface="+mn-cs"/>
              </a:rPr>
              <a:t>On the </a:t>
            </a:r>
            <a:r>
              <a:rPr lang="en-US" sz="800" b="1" i="0" u="none" strike="noStrike" kern="1200" dirty="0">
                <a:solidFill>
                  <a:schemeClr val="tx1"/>
                </a:solidFill>
                <a:effectLst/>
                <a:latin typeface="Segoe UI Light" pitchFamily="34" charset="0"/>
                <a:ea typeface="+mn-ea"/>
                <a:cs typeface="+mn-cs"/>
              </a:rPr>
              <a:t>Configure Azure Database</a:t>
            </a:r>
            <a:r>
              <a:rPr lang="en-US" sz="800" b="0" i="0" u="none" strike="noStrike" kern="1200" dirty="0">
                <a:solidFill>
                  <a:schemeClr val="tx1"/>
                </a:solidFill>
                <a:effectLst/>
                <a:latin typeface="Segoe UI Light" pitchFamily="34" charset="0"/>
                <a:ea typeface="+mn-ea"/>
                <a:cs typeface="+mn-cs"/>
              </a:rPr>
              <a:t> page, do the following things:</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Sync Member Name</a:t>
            </a:r>
            <a:r>
              <a:rPr lang="en-US" sz="800" b="0" i="0" u="none" strike="noStrike" kern="1200" dirty="0">
                <a:solidFill>
                  <a:schemeClr val="tx1"/>
                </a:solidFill>
                <a:effectLst/>
                <a:latin typeface="Segoe UI Light" pitchFamily="34" charset="0"/>
                <a:ea typeface="+mn-ea"/>
                <a:cs typeface="+mn-cs"/>
              </a:rPr>
              <a:t> field, provide a name for the new sync member. This name is distinct from the name of the database itself.</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Subscription</a:t>
            </a:r>
            <a:r>
              <a:rPr lang="en-US" sz="800" b="0" i="0" u="none" strike="noStrike" kern="1200" dirty="0">
                <a:solidFill>
                  <a:schemeClr val="tx1"/>
                </a:solidFill>
                <a:effectLst/>
                <a:latin typeface="Segoe UI Light" pitchFamily="34" charset="0"/>
                <a:ea typeface="+mn-ea"/>
                <a:cs typeface="+mn-cs"/>
              </a:rPr>
              <a:t> field, select the associated Azure subscription for billing purposes.</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Azure SQL Server</a:t>
            </a:r>
            <a:r>
              <a:rPr lang="en-US" sz="800" b="0" i="0" u="none" strike="noStrike" kern="1200" dirty="0">
                <a:solidFill>
                  <a:schemeClr val="tx1"/>
                </a:solidFill>
                <a:effectLst/>
                <a:latin typeface="Segoe UI Light" pitchFamily="34" charset="0"/>
                <a:ea typeface="+mn-ea"/>
                <a:cs typeface="+mn-cs"/>
              </a:rPr>
              <a:t> field, select the existing SQL database server.</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Azure SQL Database</a:t>
            </a:r>
            <a:r>
              <a:rPr lang="en-US" sz="800" b="0" i="0" u="none" strike="noStrike" kern="1200" dirty="0">
                <a:solidFill>
                  <a:schemeClr val="tx1"/>
                </a:solidFill>
                <a:effectLst/>
                <a:latin typeface="Segoe UI Light" pitchFamily="34" charset="0"/>
                <a:ea typeface="+mn-ea"/>
                <a:cs typeface="+mn-cs"/>
              </a:rPr>
              <a:t> field, select the existing SQL database.</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Sync Directions</a:t>
            </a:r>
            <a:r>
              <a:rPr lang="en-US" sz="800" b="0" i="0" u="none" strike="noStrike" kern="1200" dirty="0">
                <a:solidFill>
                  <a:schemeClr val="tx1"/>
                </a:solidFill>
                <a:effectLst/>
                <a:latin typeface="Segoe UI Light" pitchFamily="34" charset="0"/>
                <a:ea typeface="+mn-ea"/>
                <a:cs typeface="+mn-cs"/>
              </a:rPr>
              <a:t> field, select Bi-directional Sync, To the Hub, or From the Hub.</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Username</a:t>
            </a:r>
            <a:r>
              <a:rPr lang="en-US" sz="800" b="0" i="0" u="none" strike="noStrike" kern="1200" dirty="0">
                <a:solidFill>
                  <a:schemeClr val="tx1"/>
                </a:solidFill>
                <a:effectLst/>
                <a:latin typeface="Segoe UI Light" pitchFamily="34" charset="0"/>
                <a:ea typeface="+mn-ea"/>
                <a:cs typeface="+mn-cs"/>
              </a:rPr>
              <a:t> and </a:t>
            </a:r>
            <a:r>
              <a:rPr lang="en-US" sz="800" b="1" i="0" u="none" strike="noStrike" kern="1200" dirty="0">
                <a:solidFill>
                  <a:schemeClr val="tx1"/>
                </a:solidFill>
                <a:effectLst/>
                <a:latin typeface="Segoe UI Light" pitchFamily="34" charset="0"/>
                <a:ea typeface="+mn-ea"/>
                <a:cs typeface="+mn-cs"/>
              </a:rPr>
              <a:t>Password</a:t>
            </a:r>
            <a:r>
              <a:rPr lang="en-US" sz="800" b="0" i="0" u="none" strike="noStrike" kern="1200" dirty="0">
                <a:solidFill>
                  <a:schemeClr val="tx1"/>
                </a:solidFill>
                <a:effectLst/>
                <a:latin typeface="Segoe UI Light" pitchFamily="34" charset="0"/>
                <a:ea typeface="+mn-ea"/>
                <a:cs typeface="+mn-cs"/>
              </a:rPr>
              <a:t> fields, enter the existing credentials for the SQL Database server on which the member database is located. Don't enter </a:t>
            </a:r>
            <a:r>
              <a:rPr lang="en-US" sz="800" b="0" i="1" u="none" strike="noStrike" kern="1200" dirty="0">
                <a:solidFill>
                  <a:schemeClr val="tx1"/>
                </a:solidFill>
                <a:effectLst/>
                <a:latin typeface="Segoe UI Light" pitchFamily="34" charset="0"/>
                <a:ea typeface="+mn-ea"/>
                <a:cs typeface="+mn-cs"/>
              </a:rPr>
              <a:t>new</a:t>
            </a:r>
            <a:r>
              <a:rPr lang="en-US" sz="800" b="0" i="0" u="none" strike="noStrike" kern="1200" dirty="0">
                <a:solidFill>
                  <a:schemeClr val="tx1"/>
                </a:solidFill>
                <a:effectLst/>
                <a:latin typeface="Segoe UI Light" pitchFamily="34" charset="0"/>
                <a:ea typeface="+mn-ea"/>
                <a:cs typeface="+mn-cs"/>
              </a:rPr>
              <a:t> credentials in this section.</a:t>
            </a:r>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OK</a:t>
            </a:r>
            <a:r>
              <a:rPr lang="en-US" sz="800" b="0" i="0" u="none" strike="noStrike" kern="1200" dirty="0">
                <a:solidFill>
                  <a:schemeClr val="tx1"/>
                </a:solidFill>
                <a:effectLst/>
                <a:latin typeface="Segoe UI Light" pitchFamily="34" charset="0"/>
                <a:ea typeface="+mn-ea"/>
                <a:cs typeface="+mn-cs"/>
              </a:rPr>
              <a:t> and wait for the new sync member to be created and deployed.</a:t>
            </a:r>
          </a:p>
          <a:p>
            <a:endParaRPr lang="en-US" sz="8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a:p>
        </p:txBody>
      </p:sp>
    </p:spTree>
    <p:extLst>
      <p:ext uri="{BB962C8B-B14F-4D97-AF65-F5344CB8AC3E}">
        <p14:creationId xmlns:p14="http://schemas.microsoft.com/office/powerpoint/2010/main" val="237965769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Add an on-premises SQL Server database</a:t>
            </a:r>
          </a:p>
          <a:p>
            <a:r>
              <a:rPr lang="en-US" sz="900" b="0" i="0" u="none" strike="noStrike" kern="1200" dirty="0">
                <a:solidFill>
                  <a:schemeClr val="tx1"/>
                </a:solidFill>
                <a:effectLst/>
                <a:latin typeface="Segoe UI Light" pitchFamily="34" charset="0"/>
                <a:ea typeface="+mn-ea"/>
                <a:cs typeface="+mn-cs"/>
              </a:rPr>
              <a:t>In the </a:t>
            </a:r>
            <a:r>
              <a:rPr lang="en-US" sz="900" b="1" i="0" u="none" strike="noStrike" kern="1200" dirty="0">
                <a:solidFill>
                  <a:schemeClr val="tx1"/>
                </a:solidFill>
                <a:effectLst/>
                <a:latin typeface="Segoe UI Light" pitchFamily="34" charset="0"/>
                <a:ea typeface="+mn-ea"/>
                <a:cs typeface="+mn-cs"/>
              </a:rPr>
              <a:t>Member Database</a:t>
            </a:r>
            <a:r>
              <a:rPr lang="en-US" sz="900" b="0" i="0" u="none" strike="noStrike" kern="1200" dirty="0">
                <a:solidFill>
                  <a:schemeClr val="tx1"/>
                </a:solidFill>
                <a:effectLst/>
                <a:latin typeface="Segoe UI Light" pitchFamily="34" charset="0"/>
                <a:ea typeface="+mn-ea"/>
                <a:cs typeface="+mn-cs"/>
              </a:rPr>
              <a:t> section, optionally add an on-premises SQL Server to the sync group by selecting </a:t>
            </a:r>
            <a:r>
              <a:rPr lang="en-US" sz="900" b="1" i="0" u="none" strike="noStrike" kern="1200" dirty="0">
                <a:solidFill>
                  <a:schemeClr val="tx1"/>
                </a:solidFill>
                <a:effectLst/>
                <a:latin typeface="Segoe UI Light" pitchFamily="34" charset="0"/>
                <a:ea typeface="+mn-ea"/>
                <a:cs typeface="+mn-cs"/>
              </a:rPr>
              <a:t>Add an On-Premises Database</a:t>
            </a:r>
            <a:r>
              <a:rPr lang="en-US" sz="900" b="0" i="0" u="none" strike="noStrike" kern="1200" dirty="0">
                <a:solidFill>
                  <a:schemeClr val="tx1"/>
                </a:solidFill>
                <a:effectLst/>
                <a:latin typeface="Segoe UI Light" pitchFamily="34" charset="0"/>
                <a:ea typeface="+mn-ea"/>
                <a:cs typeface="+mn-cs"/>
              </a:rPr>
              <a:t>. The </a:t>
            </a:r>
            <a:r>
              <a:rPr lang="en-US" sz="900" b="1" i="0" u="none" strike="noStrike" kern="1200" dirty="0">
                <a:solidFill>
                  <a:schemeClr val="tx1"/>
                </a:solidFill>
                <a:effectLst/>
                <a:latin typeface="Segoe UI Light" pitchFamily="34" charset="0"/>
                <a:ea typeface="+mn-ea"/>
                <a:cs typeface="+mn-cs"/>
              </a:rPr>
              <a:t>Configure On-Premises</a:t>
            </a:r>
            <a:r>
              <a:rPr lang="en-US" sz="900" b="0" i="0" u="none" strike="noStrike" kern="1200" dirty="0">
                <a:solidFill>
                  <a:schemeClr val="tx1"/>
                </a:solidFill>
                <a:effectLst/>
                <a:latin typeface="Segoe UI Light" pitchFamily="34" charset="0"/>
                <a:ea typeface="+mn-ea"/>
                <a:cs typeface="+mn-cs"/>
              </a:rPr>
              <a:t> page opens.</a:t>
            </a:r>
          </a:p>
          <a:p>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Configure On-Premises</a:t>
            </a:r>
            <a:r>
              <a:rPr lang="en-US" sz="900" b="0" i="0" u="none" strike="noStrike" kern="1200" dirty="0">
                <a:solidFill>
                  <a:schemeClr val="tx1"/>
                </a:solidFill>
                <a:effectLst/>
                <a:latin typeface="Segoe UI Light" pitchFamily="34" charset="0"/>
                <a:ea typeface="+mn-ea"/>
                <a:cs typeface="+mn-cs"/>
              </a:rPr>
              <a:t> page, do the following things:</a:t>
            </a:r>
          </a:p>
          <a:p>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Choose the Sync Agent Gateway</a:t>
            </a:r>
            <a:r>
              <a:rPr lang="en-US" sz="900" b="0" i="0" u="none" strike="noStrike" kern="1200" dirty="0">
                <a:solidFill>
                  <a:schemeClr val="tx1"/>
                </a:solidFill>
                <a:effectLst/>
                <a:latin typeface="Segoe UI Light" pitchFamily="34" charset="0"/>
                <a:ea typeface="+mn-ea"/>
                <a:cs typeface="+mn-cs"/>
              </a:rPr>
              <a:t>. The </a:t>
            </a:r>
            <a:r>
              <a:rPr lang="en-US" sz="900" b="1" i="0" u="none" strike="noStrike" kern="1200" dirty="0">
                <a:solidFill>
                  <a:schemeClr val="tx1"/>
                </a:solidFill>
                <a:effectLst/>
                <a:latin typeface="Segoe UI Light" pitchFamily="34" charset="0"/>
                <a:ea typeface="+mn-ea"/>
                <a:cs typeface="+mn-cs"/>
              </a:rPr>
              <a:t>Select Sync Agent</a:t>
            </a:r>
            <a:r>
              <a:rPr lang="en-US" sz="900" b="0" i="0" u="none" strike="noStrike" kern="1200" dirty="0">
                <a:solidFill>
                  <a:schemeClr val="tx1"/>
                </a:solidFill>
                <a:effectLst/>
                <a:latin typeface="Segoe UI Light" pitchFamily="34" charset="0"/>
                <a:ea typeface="+mn-ea"/>
                <a:cs typeface="+mn-cs"/>
              </a:rPr>
              <a:t> page opens.</a:t>
            </a:r>
          </a:p>
          <a:p>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Choose the Sync Agent Gateway</a:t>
            </a:r>
            <a:r>
              <a:rPr lang="en-US" sz="900" b="0" i="0" u="none" strike="noStrike" kern="1200" dirty="0">
                <a:solidFill>
                  <a:schemeClr val="tx1"/>
                </a:solidFill>
                <a:effectLst/>
                <a:latin typeface="Segoe UI Light" pitchFamily="34" charset="0"/>
                <a:ea typeface="+mn-ea"/>
                <a:cs typeface="+mn-cs"/>
              </a:rPr>
              <a:t> page, choose whether to use an existing agent or create a new agent.</a:t>
            </a:r>
          </a:p>
          <a:p>
            <a:r>
              <a:rPr lang="en-US" sz="900" b="0" i="0" u="none" strike="noStrike" kern="1200" dirty="0">
                <a:solidFill>
                  <a:schemeClr val="tx1"/>
                </a:solidFill>
                <a:effectLst/>
                <a:latin typeface="Segoe UI Light" pitchFamily="34" charset="0"/>
                <a:ea typeface="+mn-ea"/>
                <a:cs typeface="+mn-cs"/>
              </a:rPr>
              <a:t>If you chose </a:t>
            </a:r>
            <a:r>
              <a:rPr lang="en-US" sz="900" b="1" i="0" u="none" strike="noStrike" kern="1200" dirty="0">
                <a:solidFill>
                  <a:schemeClr val="tx1"/>
                </a:solidFill>
                <a:effectLst/>
                <a:latin typeface="Segoe UI Light" pitchFamily="34" charset="0"/>
                <a:ea typeface="+mn-ea"/>
                <a:cs typeface="+mn-cs"/>
              </a:rPr>
              <a:t>Existing agents</a:t>
            </a:r>
            <a:r>
              <a:rPr lang="en-US" sz="900" b="0" i="0" u="none" strike="noStrike" kern="1200" dirty="0">
                <a:solidFill>
                  <a:schemeClr val="tx1"/>
                </a:solidFill>
                <a:effectLst/>
                <a:latin typeface="Segoe UI Light" pitchFamily="34" charset="0"/>
                <a:ea typeface="+mn-ea"/>
                <a:cs typeface="+mn-cs"/>
              </a:rPr>
              <a:t>, select the existing agent from the list.</a:t>
            </a:r>
          </a:p>
          <a:p>
            <a:r>
              <a:rPr lang="en-US" sz="900" b="0" i="0" u="none" strike="noStrike" kern="1200" dirty="0">
                <a:solidFill>
                  <a:schemeClr val="tx1"/>
                </a:solidFill>
                <a:effectLst/>
                <a:latin typeface="Segoe UI Light" pitchFamily="34" charset="0"/>
                <a:ea typeface="+mn-ea"/>
                <a:cs typeface="+mn-cs"/>
              </a:rPr>
              <a:t>If you chose </a:t>
            </a:r>
            <a:r>
              <a:rPr lang="en-US" sz="900" b="1" i="0" u="none" strike="noStrike" kern="1200" dirty="0">
                <a:solidFill>
                  <a:schemeClr val="tx1"/>
                </a:solidFill>
                <a:effectLst/>
                <a:latin typeface="Segoe UI Light" pitchFamily="34" charset="0"/>
                <a:ea typeface="+mn-ea"/>
                <a:cs typeface="+mn-cs"/>
              </a:rPr>
              <a:t>Create a new agent</a:t>
            </a:r>
            <a:r>
              <a:rPr lang="en-US" sz="900" b="0" i="0" u="none" strike="noStrike" kern="1200" dirty="0">
                <a:solidFill>
                  <a:schemeClr val="tx1"/>
                </a:solidFill>
                <a:effectLst/>
                <a:latin typeface="Segoe UI Light" pitchFamily="34" charset="0"/>
                <a:ea typeface="+mn-ea"/>
                <a:cs typeface="+mn-cs"/>
              </a:rPr>
              <a:t>, do the following things:</a:t>
            </a:r>
          </a:p>
          <a:p>
            <a:pPr lvl="1"/>
            <a:r>
              <a:rPr lang="en-US" sz="900" b="0" i="0" u="none" strike="noStrike" kern="1200" dirty="0">
                <a:solidFill>
                  <a:schemeClr val="tx1"/>
                </a:solidFill>
                <a:effectLst/>
                <a:latin typeface="Segoe UI Light" pitchFamily="34" charset="0"/>
                <a:ea typeface="+mn-ea"/>
                <a:cs typeface="+mn-cs"/>
              </a:rPr>
              <a:t>Download the client sync agent software from the link provided and install it on the computer where the SQL Server is located.</a:t>
            </a:r>
          </a:p>
          <a:p>
            <a:pPr lvl="1"/>
            <a:r>
              <a:rPr lang="en-US" sz="900" b="0" i="0" u="none" strike="noStrike" kern="1200" dirty="0">
                <a:solidFill>
                  <a:schemeClr val="tx1"/>
                </a:solidFill>
                <a:effectLst/>
                <a:latin typeface="Segoe UI Light" pitchFamily="34" charset="0"/>
                <a:ea typeface="+mn-ea"/>
                <a:cs typeface="+mn-cs"/>
              </a:rPr>
              <a:t>Important</a:t>
            </a:r>
          </a:p>
          <a:p>
            <a:pPr lvl="1"/>
            <a:r>
              <a:rPr lang="en-US" sz="900" b="0" i="0" u="none" strike="noStrike" kern="1200" dirty="0">
                <a:solidFill>
                  <a:schemeClr val="tx1"/>
                </a:solidFill>
                <a:effectLst/>
                <a:latin typeface="Segoe UI Light" pitchFamily="34" charset="0"/>
                <a:ea typeface="+mn-ea"/>
                <a:cs typeface="+mn-cs"/>
              </a:rPr>
              <a:t>You have to open outbound TCP port 1433 in the firewall to let the client agent communicate with the server.</a:t>
            </a:r>
          </a:p>
          <a:p>
            <a:pPr lvl="1"/>
            <a:r>
              <a:rPr lang="en-US" sz="900" b="0" i="0" u="none" strike="noStrike" kern="1200" dirty="0">
                <a:solidFill>
                  <a:schemeClr val="tx1"/>
                </a:solidFill>
                <a:effectLst/>
                <a:latin typeface="Segoe UI Light" pitchFamily="34" charset="0"/>
                <a:ea typeface="+mn-ea"/>
                <a:cs typeface="+mn-cs"/>
              </a:rPr>
              <a:t>Enter a name for the agent.</a:t>
            </a:r>
          </a:p>
          <a:p>
            <a:pPr lvl="1"/>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Create and Generate Key</a:t>
            </a:r>
            <a:r>
              <a:rPr lang="en-US" sz="900" b="0" i="0" u="none" strike="noStrike" kern="1200" dirty="0">
                <a:solidFill>
                  <a:schemeClr val="tx1"/>
                </a:solidFill>
                <a:effectLst/>
                <a:latin typeface="Segoe UI Light" pitchFamily="34" charset="0"/>
                <a:ea typeface="+mn-ea"/>
                <a:cs typeface="+mn-cs"/>
              </a:rPr>
              <a:t>.</a:t>
            </a:r>
          </a:p>
          <a:p>
            <a:pPr lvl="1"/>
            <a:r>
              <a:rPr lang="en-US" sz="900" b="0" i="0" u="none" strike="noStrike" kern="1200" dirty="0">
                <a:solidFill>
                  <a:schemeClr val="tx1"/>
                </a:solidFill>
                <a:effectLst/>
                <a:latin typeface="Segoe UI Light" pitchFamily="34" charset="0"/>
                <a:ea typeface="+mn-ea"/>
                <a:cs typeface="+mn-cs"/>
              </a:rPr>
              <a:t>Copy the agent key to the clipboard.</a:t>
            </a:r>
          </a:p>
          <a:p>
            <a:pPr lvl="1"/>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 to close the </a:t>
            </a:r>
            <a:r>
              <a:rPr lang="en-US" sz="900" b="1" i="0" u="none" strike="noStrike" kern="1200" dirty="0">
                <a:solidFill>
                  <a:schemeClr val="tx1"/>
                </a:solidFill>
                <a:effectLst/>
                <a:latin typeface="Segoe UI Light" pitchFamily="34" charset="0"/>
                <a:ea typeface="+mn-ea"/>
                <a:cs typeface="+mn-cs"/>
              </a:rPr>
              <a:t>Select Sync Agent</a:t>
            </a:r>
            <a:r>
              <a:rPr lang="en-US" sz="900" b="0" i="0" u="none" strike="noStrike" kern="1200" dirty="0">
                <a:solidFill>
                  <a:schemeClr val="tx1"/>
                </a:solidFill>
                <a:effectLst/>
                <a:latin typeface="Segoe UI Light" pitchFamily="34" charset="0"/>
                <a:ea typeface="+mn-ea"/>
                <a:cs typeface="+mn-cs"/>
              </a:rPr>
              <a:t> pag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a:p>
        </p:txBody>
      </p:sp>
    </p:spTree>
    <p:extLst>
      <p:ext uri="{BB962C8B-B14F-4D97-AF65-F5344CB8AC3E}">
        <p14:creationId xmlns:p14="http://schemas.microsoft.com/office/powerpoint/2010/main" val="255981799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On the SQL Server computer, locate and run the Client Sync Agent app.</a:t>
            </a:r>
          </a:p>
          <a:p>
            <a:r>
              <a:rPr lang="en-US" sz="800" b="0" i="0" u="none" strike="noStrike" kern="1200" dirty="0">
                <a:solidFill>
                  <a:schemeClr val="tx1"/>
                </a:solidFill>
                <a:effectLst/>
                <a:latin typeface="Segoe UI Light" pitchFamily="34" charset="0"/>
                <a:ea typeface="+mn-ea"/>
                <a:cs typeface="+mn-cs"/>
              </a:rPr>
              <a:t>In the sync agent app, select </a:t>
            </a:r>
            <a:r>
              <a:rPr lang="en-US" sz="800" b="1" i="0" u="none" strike="noStrike" kern="1200" dirty="0">
                <a:solidFill>
                  <a:schemeClr val="tx1"/>
                </a:solidFill>
                <a:effectLst/>
                <a:latin typeface="Segoe UI Light" pitchFamily="34" charset="0"/>
                <a:ea typeface="+mn-ea"/>
                <a:cs typeface="+mn-cs"/>
              </a:rPr>
              <a:t>Submit Agent Key</a:t>
            </a:r>
            <a:r>
              <a:rPr lang="en-US" sz="800" b="0" i="0" u="none" strike="noStrike" kern="1200" dirty="0">
                <a:solidFill>
                  <a:schemeClr val="tx1"/>
                </a:solidFill>
                <a:effectLst/>
                <a:latin typeface="Segoe UI Light" pitchFamily="34" charset="0"/>
                <a:ea typeface="+mn-ea"/>
                <a:cs typeface="+mn-cs"/>
              </a:rPr>
              <a:t>. The </a:t>
            </a:r>
            <a:r>
              <a:rPr lang="en-US" sz="800" b="1" i="0" u="none" strike="noStrike" kern="1200" dirty="0">
                <a:solidFill>
                  <a:schemeClr val="tx1"/>
                </a:solidFill>
                <a:effectLst/>
                <a:latin typeface="Segoe UI Light" pitchFamily="34" charset="0"/>
                <a:ea typeface="+mn-ea"/>
                <a:cs typeface="+mn-cs"/>
              </a:rPr>
              <a:t>Sync Metadata Database Configuration</a:t>
            </a:r>
            <a:r>
              <a:rPr lang="en-US" sz="800" b="0" i="0" u="none" strike="noStrike" kern="1200" dirty="0">
                <a:solidFill>
                  <a:schemeClr val="tx1"/>
                </a:solidFill>
                <a:effectLst/>
                <a:latin typeface="Segoe UI Light" pitchFamily="34" charset="0"/>
                <a:ea typeface="+mn-ea"/>
                <a:cs typeface="+mn-cs"/>
              </a:rPr>
              <a:t> dialog box opens.</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Sync Metadata Database Configuration</a:t>
            </a:r>
            <a:r>
              <a:rPr lang="en-US" sz="800" b="0" i="0" u="none" strike="noStrike" kern="1200" dirty="0">
                <a:solidFill>
                  <a:schemeClr val="tx1"/>
                </a:solidFill>
                <a:effectLst/>
                <a:latin typeface="Segoe UI Light" pitchFamily="34" charset="0"/>
                <a:ea typeface="+mn-ea"/>
                <a:cs typeface="+mn-cs"/>
              </a:rPr>
              <a:t> dialog box, paste in the agent key copied from the Azure portal. Also provide the existing credentials for the Azure SQL Database server on which the metadata database is located. (If you created a new metadata database, this database is on the same server as the hub database.) Select </a:t>
            </a:r>
            <a:r>
              <a:rPr lang="en-US" sz="800" b="1" i="0" u="none" strike="noStrike" kern="1200" dirty="0">
                <a:solidFill>
                  <a:schemeClr val="tx1"/>
                </a:solidFill>
                <a:effectLst/>
                <a:latin typeface="Segoe UI Light" pitchFamily="34" charset="0"/>
                <a:ea typeface="+mn-ea"/>
                <a:cs typeface="+mn-cs"/>
              </a:rPr>
              <a:t>OK</a:t>
            </a:r>
            <a:r>
              <a:rPr lang="en-US" sz="800" b="0" i="0" u="none" strike="noStrike" kern="1200" dirty="0">
                <a:solidFill>
                  <a:schemeClr val="tx1"/>
                </a:solidFill>
                <a:effectLst/>
                <a:latin typeface="Segoe UI Light" pitchFamily="34" charset="0"/>
                <a:ea typeface="+mn-ea"/>
                <a:cs typeface="+mn-cs"/>
              </a:rPr>
              <a:t> and wait for the configuration to finish.</a:t>
            </a:r>
          </a:p>
          <a:p>
            <a:r>
              <a:rPr lang="en-US" sz="800" b="0" i="0" u="none" strike="noStrike" kern="1200" dirty="0">
                <a:solidFill>
                  <a:schemeClr val="tx1"/>
                </a:solidFill>
                <a:effectLst/>
                <a:latin typeface="Segoe UI Light" pitchFamily="34" charset="0"/>
                <a:ea typeface="+mn-ea"/>
                <a:cs typeface="+mn-cs"/>
              </a:rPr>
              <a:t>Note</a:t>
            </a:r>
          </a:p>
          <a:p>
            <a:r>
              <a:rPr lang="en-US" sz="800" b="0" i="0" u="none" strike="noStrike" kern="1200" dirty="0">
                <a:solidFill>
                  <a:schemeClr val="tx1"/>
                </a:solidFill>
                <a:effectLst/>
                <a:latin typeface="Segoe UI Light" pitchFamily="34" charset="0"/>
                <a:ea typeface="+mn-ea"/>
                <a:cs typeface="+mn-cs"/>
              </a:rPr>
              <a:t>If you get a firewall error at this point, you have to create a firewall rule on Azure to allow incoming traffic from the SQL Server computer. You can create the rule manually in the portal, but you may find it easier to create it in SQL Server Management Studio (SSMS). In SSMS, try to connect to the hub database on Azure. Enter its name as &lt;</a:t>
            </a:r>
            <a:r>
              <a:rPr lang="en-US" sz="800" b="0" i="0" u="none" strike="noStrike" kern="1200" dirty="0" err="1">
                <a:solidFill>
                  <a:schemeClr val="tx1"/>
                </a:solidFill>
                <a:effectLst/>
                <a:latin typeface="Segoe UI Light" pitchFamily="34" charset="0"/>
                <a:ea typeface="+mn-ea"/>
                <a:cs typeface="+mn-cs"/>
              </a:rPr>
              <a:t>hub_database_name</a:t>
            </a:r>
            <a:r>
              <a:rPr lang="en-US" sz="800" b="0" i="0" u="none" strike="noStrike" kern="1200" dirty="0">
                <a:solidFill>
                  <a:schemeClr val="tx1"/>
                </a:solidFill>
                <a:effectLst/>
                <a:latin typeface="Segoe UI Light" pitchFamily="34" charset="0"/>
                <a:ea typeface="+mn-ea"/>
                <a:cs typeface="+mn-cs"/>
              </a:rPr>
              <a:t>&gt;.database.windows.net. To configure the Azure firewall rule, follow the steps in the dialog box. Then return to the Client Sync Agent app.</a:t>
            </a:r>
          </a:p>
          <a:p>
            <a:r>
              <a:rPr lang="en-US" sz="800" b="0" i="0" u="none" strike="noStrike" kern="1200" dirty="0">
                <a:solidFill>
                  <a:schemeClr val="tx1"/>
                </a:solidFill>
                <a:effectLst/>
                <a:latin typeface="Segoe UI Light" pitchFamily="34" charset="0"/>
                <a:ea typeface="+mn-ea"/>
                <a:cs typeface="+mn-cs"/>
              </a:rPr>
              <a:t>In the Client Sync Agent app, click </a:t>
            </a:r>
            <a:r>
              <a:rPr lang="en-US" sz="800" b="1" i="0" u="none" strike="noStrike" kern="1200" dirty="0">
                <a:solidFill>
                  <a:schemeClr val="tx1"/>
                </a:solidFill>
                <a:effectLst/>
                <a:latin typeface="Segoe UI Light" pitchFamily="34" charset="0"/>
                <a:ea typeface="+mn-ea"/>
                <a:cs typeface="+mn-cs"/>
              </a:rPr>
              <a:t>Register</a:t>
            </a:r>
            <a:r>
              <a:rPr lang="en-US" sz="800" b="0" i="0" u="none" strike="noStrike" kern="1200" dirty="0">
                <a:solidFill>
                  <a:schemeClr val="tx1"/>
                </a:solidFill>
                <a:effectLst/>
                <a:latin typeface="Segoe UI Light" pitchFamily="34" charset="0"/>
                <a:ea typeface="+mn-ea"/>
                <a:cs typeface="+mn-cs"/>
              </a:rPr>
              <a:t> to register a SQL Server database with the agent. The </a:t>
            </a:r>
            <a:r>
              <a:rPr lang="en-US" sz="800" b="1" i="0" u="none" strike="noStrike" kern="1200" dirty="0">
                <a:solidFill>
                  <a:schemeClr val="tx1"/>
                </a:solidFill>
                <a:effectLst/>
                <a:latin typeface="Segoe UI Light" pitchFamily="34" charset="0"/>
                <a:ea typeface="+mn-ea"/>
                <a:cs typeface="+mn-cs"/>
              </a:rPr>
              <a:t>SQL Server Configuration</a:t>
            </a:r>
            <a:r>
              <a:rPr lang="en-US" sz="800" b="0" i="0" u="none" strike="noStrike" kern="1200" dirty="0">
                <a:solidFill>
                  <a:schemeClr val="tx1"/>
                </a:solidFill>
                <a:effectLst/>
                <a:latin typeface="Segoe UI Light" pitchFamily="34" charset="0"/>
                <a:ea typeface="+mn-ea"/>
                <a:cs typeface="+mn-cs"/>
              </a:rPr>
              <a:t> dialog box opens.</a:t>
            </a:r>
          </a:p>
          <a:p>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SQL Server Configuration</a:t>
            </a:r>
            <a:r>
              <a:rPr lang="en-US" sz="800" b="0" i="0" u="none" strike="noStrike" kern="1200" dirty="0">
                <a:solidFill>
                  <a:schemeClr val="tx1"/>
                </a:solidFill>
                <a:effectLst/>
                <a:latin typeface="Segoe UI Light" pitchFamily="34" charset="0"/>
                <a:ea typeface="+mn-ea"/>
                <a:cs typeface="+mn-cs"/>
              </a:rPr>
              <a:t> dialog box, choose whether to connect by using SQL Server authentication or Windows authentication. If you chose SQL Server authentication, enter the existing credentials. Provide the SQL Server name and the name of the database that you want to sync. Select </a:t>
            </a:r>
            <a:r>
              <a:rPr lang="en-US" sz="800" b="1" i="0" u="none" strike="noStrike" kern="1200" dirty="0">
                <a:solidFill>
                  <a:schemeClr val="tx1"/>
                </a:solidFill>
                <a:effectLst/>
                <a:latin typeface="Segoe UI Light" pitchFamily="34" charset="0"/>
                <a:ea typeface="+mn-ea"/>
                <a:cs typeface="+mn-cs"/>
              </a:rPr>
              <a:t>Test connection</a:t>
            </a:r>
            <a:r>
              <a:rPr lang="en-US" sz="800" b="0" i="0" u="none" strike="noStrike" kern="1200" dirty="0">
                <a:solidFill>
                  <a:schemeClr val="tx1"/>
                </a:solidFill>
                <a:effectLst/>
                <a:latin typeface="Segoe UI Light" pitchFamily="34" charset="0"/>
                <a:ea typeface="+mn-ea"/>
                <a:cs typeface="+mn-cs"/>
              </a:rPr>
              <a:t> to test your settings. Then select </a:t>
            </a:r>
            <a:r>
              <a:rPr lang="en-US" sz="800" b="1" i="0" u="none" strike="noStrike" kern="1200" dirty="0">
                <a:solidFill>
                  <a:schemeClr val="tx1"/>
                </a:solidFill>
                <a:effectLst/>
                <a:latin typeface="Segoe UI Light" pitchFamily="34" charset="0"/>
                <a:ea typeface="+mn-ea"/>
                <a:cs typeface="+mn-cs"/>
              </a:rPr>
              <a:t>Save</a:t>
            </a:r>
            <a:r>
              <a:rPr lang="en-US" sz="800" b="0" i="0" u="none" strike="noStrike" kern="1200" dirty="0">
                <a:solidFill>
                  <a:schemeClr val="tx1"/>
                </a:solidFill>
                <a:effectLst/>
                <a:latin typeface="Segoe UI Light" pitchFamily="34" charset="0"/>
                <a:ea typeface="+mn-ea"/>
                <a:cs typeface="+mn-cs"/>
              </a:rPr>
              <a:t>. The registered database appears in the list.</a:t>
            </a:r>
          </a:p>
          <a:p>
            <a:r>
              <a:rPr lang="en-US" sz="800" b="0" i="0" u="none" strike="noStrike" kern="1200" dirty="0">
                <a:solidFill>
                  <a:schemeClr val="tx1"/>
                </a:solidFill>
                <a:effectLst/>
                <a:latin typeface="Segoe UI Light" pitchFamily="34" charset="0"/>
                <a:ea typeface="+mn-ea"/>
                <a:cs typeface="+mn-cs"/>
              </a:rPr>
              <a:t>You can now close the Client Sync Agent app.</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a:p>
        </p:txBody>
      </p:sp>
    </p:spTree>
    <p:extLst>
      <p:ext uri="{BB962C8B-B14F-4D97-AF65-F5344CB8AC3E}">
        <p14:creationId xmlns:p14="http://schemas.microsoft.com/office/powerpoint/2010/main" val="1489390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u="none" strike="noStrike" kern="1200" dirty="0">
              <a:solidFill>
                <a:schemeClr val="tx1"/>
              </a:solidFill>
              <a:effectLst/>
              <a:latin typeface="Segoe UI Light" pitchFamily="34" charset="0"/>
              <a:ea typeface="+mn-ea"/>
              <a:cs typeface="+mn-cs"/>
            </a:endParaRPr>
          </a:p>
          <a:p>
            <a:pPr lvl="1"/>
            <a:r>
              <a:rPr lang="en-US" sz="900" b="0" i="0" u="none" strike="noStrike" kern="1200" dirty="0">
                <a:solidFill>
                  <a:schemeClr val="tx1"/>
                </a:solidFill>
                <a:effectLst/>
                <a:latin typeface="Segoe UI Light" pitchFamily="34" charset="0"/>
                <a:ea typeface="+mn-ea"/>
                <a:cs typeface="+mn-cs"/>
              </a:rPr>
              <a:t>In the portal, on the </a:t>
            </a:r>
            <a:r>
              <a:rPr lang="en-US" sz="900" b="1" i="0" u="none" strike="noStrike" kern="1200" dirty="0">
                <a:solidFill>
                  <a:schemeClr val="tx1"/>
                </a:solidFill>
                <a:effectLst/>
                <a:latin typeface="Segoe UI Light" pitchFamily="34" charset="0"/>
                <a:ea typeface="+mn-ea"/>
                <a:cs typeface="+mn-cs"/>
              </a:rPr>
              <a:t>Configure On-Premises</a:t>
            </a:r>
            <a:r>
              <a:rPr lang="en-US" sz="900" b="0" i="0" u="none" strike="noStrike" kern="1200" dirty="0">
                <a:solidFill>
                  <a:schemeClr val="tx1"/>
                </a:solidFill>
                <a:effectLst/>
                <a:latin typeface="Segoe UI Light" pitchFamily="34" charset="0"/>
                <a:ea typeface="+mn-ea"/>
                <a:cs typeface="+mn-cs"/>
              </a:rPr>
              <a:t> page, select </a:t>
            </a:r>
            <a:r>
              <a:rPr lang="en-US" sz="900" b="1" i="0" u="none" strike="noStrike" kern="1200" dirty="0" err="1">
                <a:solidFill>
                  <a:schemeClr val="tx1"/>
                </a:solidFill>
                <a:effectLst/>
                <a:latin typeface="Segoe UI Light" pitchFamily="34" charset="0"/>
                <a:ea typeface="+mn-ea"/>
                <a:cs typeface="+mn-cs"/>
              </a:rPr>
              <a:t>Select</a:t>
            </a:r>
            <a:r>
              <a:rPr lang="en-US" sz="900" b="1" i="0" u="none" strike="noStrike" kern="1200" dirty="0">
                <a:solidFill>
                  <a:schemeClr val="tx1"/>
                </a:solidFill>
                <a:effectLst/>
                <a:latin typeface="Segoe UI Light" pitchFamily="34" charset="0"/>
                <a:ea typeface="+mn-ea"/>
                <a:cs typeface="+mn-cs"/>
              </a:rPr>
              <a:t> the Database.</a:t>
            </a:r>
            <a:r>
              <a:rPr lang="en-US" sz="900" b="0" i="0" u="none" strike="noStrike" kern="1200" dirty="0">
                <a:solidFill>
                  <a:schemeClr val="tx1"/>
                </a:solidFill>
                <a:effectLst/>
                <a:latin typeface="Segoe UI Light" pitchFamily="34" charset="0"/>
                <a:ea typeface="+mn-ea"/>
                <a:cs typeface="+mn-cs"/>
              </a:rPr>
              <a:t> The </a:t>
            </a:r>
            <a:r>
              <a:rPr lang="en-US" sz="900" b="1" i="0" u="none" strike="noStrike" kern="1200" dirty="0">
                <a:solidFill>
                  <a:schemeClr val="tx1"/>
                </a:solidFill>
                <a:effectLst/>
                <a:latin typeface="Segoe UI Light" pitchFamily="34" charset="0"/>
                <a:ea typeface="+mn-ea"/>
                <a:cs typeface="+mn-cs"/>
              </a:rPr>
              <a:t>Select Database</a:t>
            </a:r>
            <a:r>
              <a:rPr lang="en-US" sz="900" b="0" i="0" u="none" strike="noStrike" kern="1200" dirty="0">
                <a:solidFill>
                  <a:schemeClr val="tx1"/>
                </a:solidFill>
                <a:effectLst/>
                <a:latin typeface="Segoe UI Light" pitchFamily="34" charset="0"/>
                <a:ea typeface="+mn-ea"/>
                <a:cs typeface="+mn-cs"/>
              </a:rPr>
              <a:t> page opens.</a:t>
            </a:r>
          </a:p>
          <a:p>
            <a:pPr lvl="1"/>
            <a:r>
              <a:rPr lang="en-US" sz="900" b="0" i="0" u="none" strike="noStrike" kern="1200" dirty="0">
                <a:solidFill>
                  <a:schemeClr val="tx1"/>
                </a:solidFill>
                <a:effectLst/>
                <a:latin typeface="Segoe UI Light" pitchFamily="34" charset="0"/>
                <a:ea typeface="+mn-ea"/>
                <a:cs typeface="+mn-cs"/>
              </a:rPr>
              <a:t>On the </a:t>
            </a:r>
            <a:r>
              <a:rPr lang="en-US" sz="900" b="1" i="0" u="none" strike="noStrike" kern="1200" dirty="0">
                <a:solidFill>
                  <a:schemeClr val="tx1"/>
                </a:solidFill>
                <a:effectLst/>
                <a:latin typeface="Segoe UI Light" pitchFamily="34" charset="0"/>
                <a:ea typeface="+mn-ea"/>
                <a:cs typeface="+mn-cs"/>
              </a:rPr>
              <a:t>Select Database</a:t>
            </a:r>
            <a:r>
              <a:rPr lang="en-US" sz="900" b="0" i="0" u="none" strike="noStrike" kern="1200" dirty="0">
                <a:solidFill>
                  <a:schemeClr val="tx1"/>
                </a:solidFill>
                <a:effectLst/>
                <a:latin typeface="Segoe UI Light" pitchFamily="34" charset="0"/>
                <a:ea typeface="+mn-ea"/>
                <a:cs typeface="+mn-cs"/>
              </a:rPr>
              <a:t> page, in the </a:t>
            </a:r>
            <a:r>
              <a:rPr lang="en-US" sz="900" b="1" i="0" u="none" strike="noStrike" kern="1200" dirty="0">
                <a:solidFill>
                  <a:schemeClr val="tx1"/>
                </a:solidFill>
                <a:effectLst/>
                <a:latin typeface="Segoe UI Light" pitchFamily="34" charset="0"/>
                <a:ea typeface="+mn-ea"/>
                <a:cs typeface="+mn-cs"/>
              </a:rPr>
              <a:t>Sync Member Name</a:t>
            </a:r>
            <a:r>
              <a:rPr lang="en-US" sz="900" b="0" i="0" u="none" strike="noStrike" kern="1200" dirty="0">
                <a:solidFill>
                  <a:schemeClr val="tx1"/>
                </a:solidFill>
                <a:effectLst/>
                <a:latin typeface="Segoe UI Light" pitchFamily="34" charset="0"/>
                <a:ea typeface="+mn-ea"/>
                <a:cs typeface="+mn-cs"/>
              </a:rPr>
              <a:t> field, provide a name for the new sync member. This name is distinct from the name of the database itself. Select the database from the list. In the </a:t>
            </a:r>
            <a:r>
              <a:rPr lang="en-US" sz="900" b="1" i="0" u="none" strike="noStrike" kern="1200" dirty="0">
                <a:solidFill>
                  <a:schemeClr val="tx1"/>
                </a:solidFill>
                <a:effectLst/>
                <a:latin typeface="Segoe UI Light" pitchFamily="34" charset="0"/>
                <a:ea typeface="+mn-ea"/>
                <a:cs typeface="+mn-cs"/>
              </a:rPr>
              <a:t>Sync Directions</a:t>
            </a:r>
            <a:r>
              <a:rPr lang="en-US" sz="900" b="0" i="0" u="none" strike="noStrike" kern="1200" dirty="0">
                <a:solidFill>
                  <a:schemeClr val="tx1"/>
                </a:solidFill>
                <a:effectLst/>
                <a:latin typeface="Segoe UI Light" pitchFamily="34" charset="0"/>
                <a:ea typeface="+mn-ea"/>
                <a:cs typeface="+mn-cs"/>
              </a:rPr>
              <a:t> field, select Bi-directional Sync, To the Hub, or From the Hub.</a:t>
            </a:r>
          </a:p>
          <a:p>
            <a:pPr lvl="1"/>
            <a:r>
              <a:rPr lang="en-US" sz="900" b="0" i="0" u="none" strike="noStrike" kern="1200" dirty="0">
                <a:solidFill>
                  <a:schemeClr val="tx1"/>
                </a:solidFill>
                <a:effectLst/>
                <a:latin typeface="Segoe UI Light" pitchFamily="34" charset="0"/>
                <a:ea typeface="+mn-ea"/>
                <a:cs typeface="+mn-cs"/>
              </a:rPr>
              <a:t>Select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 to close the </a:t>
            </a:r>
            <a:r>
              <a:rPr lang="en-US" sz="900" b="1" i="0" u="none" strike="noStrike" kern="1200" dirty="0">
                <a:solidFill>
                  <a:schemeClr val="tx1"/>
                </a:solidFill>
                <a:effectLst/>
                <a:latin typeface="Segoe UI Light" pitchFamily="34" charset="0"/>
                <a:ea typeface="+mn-ea"/>
                <a:cs typeface="+mn-cs"/>
              </a:rPr>
              <a:t>Select Database</a:t>
            </a:r>
            <a:r>
              <a:rPr lang="en-US" sz="900" b="0" i="0" u="none" strike="noStrike" kern="1200" dirty="0">
                <a:solidFill>
                  <a:schemeClr val="tx1"/>
                </a:solidFill>
                <a:effectLst/>
                <a:latin typeface="Segoe UI Light" pitchFamily="34" charset="0"/>
                <a:ea typeface="+mn-ea"/>
                <a:cs typeface="+mn-cs"/>
              </a:rPr>
              <a:t> page. Then select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 to close the </a:t>
            </a:r>
            <a:r>
              <a:rPr lang="en-US" sz="900" b="1" i="0" u="none" strike="noStrike" kern="1200" dirty="0">
                <a:solidFill>
                  <a:schemeClr val="tx1"/>
                </a:solidFill>
                <a:effectLst/>
                <a:latin typeface="Segoe UI Light" pitchFamily="34" charset="0"/>
                <a:ea typeface="+mn-ea"/>
                <a:cs typeface="+mn-cs"/>
              </a:rPr>
              <a:t>Configure On-Premises</a:t>
            </a:r>
            <a:r>
              <a:rPr lang="en-US" sz="900" b="0" i="0" u="none" strike="noStrike" kern="1200" dirty="0">
                <a:solidFill>
                  <a:schemeClr val="tx1"/>
                </a:solidFill>
                <a:effectLst/>
                <a:latin typeface="Segoe UI Light" pitchFamily="34" charset="0"/>
                <a:ea typeface="+mn-ea"/>
                <a:cs typeface="+mn-cs"/>
              </a:rPr>
              <a:t> page and wait for the new sync member to be created and deployed. Finally, click </a:t>
            </a:r>
            <a:r>
              <a:rPr lang="en-US" sz="900" b="1" i="0" u="none" strike="noStrike" kern="1200" dirty="0">
                <a:solidFill>
                  <a:schemeClr val="tx1"/>
                </a:solidFill>
                <a:effectLst/>
                <a:latin typeface="Segoe UI Light" pitchFamily="34" charset="0"/>
                <a:ea typeface="+mn-ea"/>
                <a:cs typeface="+mn-cs"/>
              </a:rPr>
              <a:t>OK</a:t>
            </a:r>
            <a:r>
              <a:rPr lang="en-US" sz="900" b="0" i="0" u="none" strike="noStrike" kern="1200" dirty="0">
                <a:solidFill>
                  <a:schemeClr val="tx1"/>
                </a:solidFill>
                <a:effectLst/>
                <a:latin typeface="Segoe UI Light" pitchFamily="34" charset="0"/>
                <a:ea typeface="+mn-ea"/>
                <a:cs typeface="+mn-cs"/>
              </a:rPr>
              <a:t> to close the </a:t>
            </a:r>
            <a:r>
              <a:rPr lang="en-US" sz="900" b="1" i="0" u="none" strike="noStrike" kern="1200" dirty="0">
                <a:solidFill>
                  <a:schemeClr val="tx1"/>
                </a:solidFill>
                <a:effectLst/>
                <a:latin typeface="Segoe UI Light" pitchFamily="34" charset="0"/>
                <a:ea typeface="+mn-ea"/>
                <a:cs typeface="+mn-cs"/>
              </a:rPr>
              <a:t>Select sync members</a:t>
            </a:r>
            <a:r>
              <a:rPr lang="en-US" sz="900" b="0" i="0" u="none" strike="noStrike" kern="1200" dirty="0">
                <a:solidFill>
                  <a:schemeClr val="tx1"/>
                </a:solidFill>
                <a:effectLst/>
                <a:latin typeface="Segoe UI Light" pitchFamily="34" charset="0"/>
                <a:ea typeface="+mn-ea"/>
                <a:cs typeface="+mn-cs"/>
              </a:rPr>
              <a:t> page.</a:t>
            </a:r>
          </a:p>
          <a:p>
            <a:r>
              <a:rPr lang="en-US" sz="900" b="0" i="0" u="none" strike="noStrike" kern="1200" dirty="0">
                <a:solidFill>
                  <a:schemeClr val="tx1"/>
                </a:solidFill>
                <a:effectLst/>
                <a:latin typeface="Segoe UI Light" pitchFamily="34" charset="0"/>
                <a:ea typeface="+mn-ea"/>
                <a:cs typeface="+mn-cs"/>
              </a:rPr>
              <a:t>To connect to SQL Data Sync and the local agent, add your user name to the role </a:t>
            </a:r>
            <a:r>
              <a:rPr lang="en-US" sz="900" b="0" i="0" u="none" strike="noStrike" kern="1200" dirty="0" err="1">
                <a:solidFill>
                  <a:schemeClr val="tx1"/>
                </a:solidFill>
                <a:effectLst/>
                <a:latin typeface="Segoe UI Light" pitchFamily="34" charset="0"/>
                <a:ea typeface="+mn-ea"/>
                <a:cs typeface="+mn-cs"/>
              </a:rPr>
              <a:t>DataSync_Executor</a:t>
            </a:r>
            <a:r>
              <a:rPr lang="en-US" sz="900" b="0" i="0" u="none" strike="noStrike" kern="1200" dirty="0">
                <a:solidFill>
                  <a:schemeClr val="tx1"/>
                </a:solidFill>
                <a:effectLst/>
                <a:latin typeface="Segoe UI Light" pitchFamily="34" charset="0"/>
                <a:ea typeface="+mn-ea"/>
                <a:cs typeface="+mn-cs"/>
              </a:rPr>
              <a:t>. Data Sync creates this role on the SQL Server instanc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a:p>
        </p:txBody>
      </p:sp>
    </p:spTree>
    <p:extLst>
      <p:ext uri="{BB962C8B-B14F-4D97-AF65-F5344CB8AC3E}">
        <p14:creationId xmlns:p14="http://schemas.microsoft.com/office/powerpoint/2010/main" val="27916486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Step 3 - Configure sync group</a:t>
            </a:r>
          </a:p>
          <a:p>
            <a:r>
              <a:rPr lang="en-US" sz="800" b="0" i="0" u="none" strike="noStrike" kern="1200" dirty="0">
                <a:solidFill>
                  <a:schemeClr val="tx1"/>
                </a:solidFill>
                <a:effectLst/>
                <a:latin typeface="Segoe UI Light" pitchFamily="34" charset="0"/>
                <a:ea typeface="+mn-ea"/>
                <a:cs typeface="+mn-cs"/>
              </a:rPr>
              <a:t>After the new sync group members are created and deployed, Step 3, </a:t>
            </a:r>
            <a:r>
              <a:rPr lang="en-US" sz="800" b="1" i="0" u="none" strike="noStrike" kern="1200" dirty="0">
                <a:solidFill>
                  <a:schemeClr val="tx1"/>
                </a:solidFill>
                <a:effectLst/>
                <a:latin typeface="Segoe UI Light" pitchFamily="34" charset="0"/>
                <a:ea typeface="+mn-ea"/>
                <a:cs typeface="+mn-cs"/>
              </a:rPr>
              <a:t>Configure sync group</a:t>
            </a:r>
            <a:r>
              <a:rPr lang="en-US" sz="800" b="0" i="0" u="none" strike="noStrike" kern="1200" dirty="0">
                <a:solidFill>
                  <a:schemeClr val="tx1"/>
                </a:solidFill>
                <a:effectLst/>
                <a:latin typeface="Segoe UI Light" pitchFamily="34" charset="0"/>
                <a:ea typeface="+mn-ea"/>
                <a:cs typeface="+mn-cs"/>
              </a:rPr>
              <a:t>, is highlighted in the </a:t>
            </a:r>
            <a:r>
              <a:rPr lang="en-US" sz="800" b="1" i="0" u="none" strike="noStrike" kern="1200" dirty="0">
                <a:solidFill>
                  <a:schemeClr val="tx1"/>
                </a:solidFill>
                <a:effectLst/>
                <a:latin typeface="Segoe UI Light" pitchFamily="34" charset="0"/>
                <a:ea typeface="+mn-ea"/>
                <a:cs typeface="+mn-cs"/>
              </a:rPr>
              <a:t>New sync group</a:t>
            </a:r>
            <a:r>
              <a:rPr lang="en-US" sz="800" b="0" i="0" u="none" strike="noStrike" kern="1200" dirty="0">
                <a:solidFill>
                  <a:schemeClr val="tx1"/>
                </a:solidFill>
                <a:effectLst/>
                <a:latin typeface="Segoe UI Light" pitchFamily="34" charset="0"/>
                <a:ea typeface="+mn-ea"/>
                <a:cs typeface="+mn-cs"/>
              </a:rPr>
              <a:t> page.</a:t>
            </a:r>
          </a:p>
          <a:p>
            <a:r>
              <a:rPr lang="en-US" sz="800" b="0" i="0" u="none" strike="noStrike" kern="1200" dirty="0">
                <a:solidFill>
                  <a:schemeClr val="tx1"/>
                </a:solidFill>
                <a:effectLst/>
                <a:latin typeface="Segoe UI Light" pitchFamily="34" charset="0"/>
                <a:ea typeface="+mn-ea"/>
                <a:cs typeface="+mn-cs"/>
              </a:rPr>
              <a:t>On the </a:t>
            </a:r>
            <a:r>
              <a:rPr lang="en-US" sz="800" b="1" i="0" u="none" strike="noStrike" kern="1200" dirty="0">
                <a:solidFill>
                  <a:schemeClr val="tx1"/>
                </a:solidFill>
                <a:effectLst/>
                <a:latin typeface="Segoe UI Light" pitchFamily="34" charset="0"/>
                <a:ea typeface="+mn-ea"/>
                <a:cs typeface="+mn-cs"/>
              </a:rPr>
              <a:t>Tables</a:t>
            </a:r>
            <a:r>
              <a:rPr lang="en-US" sz="800" b="0" i="0" u="none" strike="noStrike" kern="1200" dirty="0">
                <a:solidFill>
                  <a:schemeClr val="tx1"/>
                </a:solidFill>
                <a:effectLst/>
                <a:latin typeface="Segoe UI Light" pitchFamily="34" charset="0"/>
                <a:ea typeface="+mn-ea"/>
                <a:cs typeface="+mn-cs"/>
              </a:rPr>
              <a:t> page, select a database from the list of sync group members, and then select </a:t>
            </a:r>
            <a:r>
              <a:rPr lang="en-US" sz="800" b="1" i="0" u="none" strike="noStrike" kern="1200" dirty="0">
                <a:solidFill>
                  <a:schemeClr val="tx1"/>
                </a:solidFill>
                <a:effectLst/>
                <a:latin typeface="Segoe UI Light" pitchFamily="34" charset="0"/>
                <a:ea typeface="+mn-ea"/>
                <a:cs typeface="+mn-cs"/>
              </a:rPr>
              <a:t>Refresh schema</a:t>
            </a:r>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From the list of available tables, select the tables that you want to sync.</a:t>
            </a:r>
          </a:p>
          <a:p>
            <a:r>
              <a:rPr lang="en-US" sz="800" b="0" i="0" u="none" strike="noStrike" kern="1200" dirty="0">
                <a:solidFill>
                  <a:schemeClr val="tx1"/>
                </a:solidFill>
                <a:effectLst/>
                <a:latin typeface="Segoe UI Light" pitchFamily="34" charset="0"/>
                <a:ea typeface="+mn-ea"/>
                <a:cs typeface="+mn-cs"/>
              </a:rPr>
              <a:t>By default, all columns in the table are selected. If you don't want to sync all the columns, disable the checkbox for the columns that you don't want to sync. Be sure to leave the primary key column selected.</a:t>
            </a:r>
          </a:p>
          <a:p>
            <a:r>
              <a:rPr lang="en-US" sz="800" b="0" i="0" u="none" strike="noStrike" kern="1200" dirty="0">
                <a:solidFill>
                  <a:schemeClr val="tx1"/>
                </a:solidFill>
                <a:effectLst/>
                <a:latin typeface="Segoe UI Light" pitchFamily="34" charset="0"/>
                <a:ea typeface="+mn-ea"/>
                <a:cs typeface="+mn-cs"/>
              </a:rPr>
              <a:t>Finally, select </a:t>
            </a:r>
            <a:r>
              <a:rPr lang="en-US" sz="800" b="1" i="0" u="none" strike="noStrike" kern="1200" dirty="0">
                <a:solidFill>
                  <a:schemeClr val="tx1"/>
                </a:solidFill>
                <a:effectLst/>
                <a:latin typeface="Segoe UI Light" pitchFamily="34" charset="0"/>
                <a:ea typeface="+mn-ea"/>
                <a:cs typeface="+mn-cs"/>
              </a:rPr>
              <a:t>Save</a:t>
            </a:r>
            <a:r>
              <a:rPr lang="en-US" sz="800" b="0" i="0" u="none" strike="noStrike" kern="1200" dirty="0">
                <a:solidFill>
                  <a:schemeClr val="tx1"/>
                </a:solidFill>
                <a:effectLst/>
                <a:latin typeface="Segoe UI Light" pitchFamily="34" charset="0"/>
                <a:ea typeface="+mn-ea"/>
                <a:cs typeface="+mn-cs"/>
              </a:rPr>
              <a:t>.</a:t>
            </a:r>
          </a:p>
          <a:p>
            <a:endParaRPr lang="en-US" sz="800" b="0" i="0" u="none" strike="noStrike" kern="1200" dirty="0">
              <a:solidFill>
                <a:schemeClr val="tx1"/>
              </a:solidFill>
              <a:effectLst/>
              <a:latin typeface="Segoe UI Light" pitchFamily="34" charset="0"/>
              <a:ea typeface="+mn-ea"/>
              <a:cs typeface="+mn-cs"/>
            </a:endParaRPr>
          </a:p>
          <a:p>
            <a:r>
              <a:rPr lang="en-US" sz="800" b="1" i="0" u="sng" strike="noStrike" kern="1200" dirty="0">
                <a:solidFill>
                  <a:schemeClr val="tx1"/>
                </a:solidFill>
                <a:effectLst/>
                <a:latin typeface="Segoe UI Light" pitchFamily="34" charset="0"/>
                <a:ea typeface="+mn-ea"/>
                <a:cs typeface="+mn-cs"/>
              </a:rPr>
              <a:t>Manually Sync</a:t>
            </a:r>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Go to your Sync Group and click on the Sync Button</a:t>
            </a:r>
          </a:p>
          <a:p>
            <a:r>
              <a:rPr lang="en-US" sz="800" b="0" i="0" u="none" strike="noStrike" kern="1200" dirty="0">
                <a:solidFill>
                  <a:schemeClr val="tx1"/>
                </a:solidFill>
                <a:effectLst/>
                <a:latin typeface="Segoe UI Light" pitchFamily="34" charset="0"/>
                <a:ea typeface="+mn-ea"/>
                <a:cs typeface="+mn-cs"/>
              </a:rPr>
              <a:t>Wait until the sync is finished and press the Refresh Logs Button to follow the process</a:t>
            </a:r>
          </a:p>
          <a:p>
            <a:r>
              <a:rPr lang="en-US" sz="800" b="0" i="0" u="none" strike="noStrike" kern="1200" dirty="0">
                <a:solidFill>
                  <a:schemeClr val="tx1"/>
                </a:solidFill>
                <a:effectLst/>
                <a:latin typeface="Segoe UI Light" pitchFamily="34" charset="0"/>
                <a:ea typeface="+mn-ea"/>
                <a:cs typeface="+mn-cs"/>
              </a:rPr>
              <a:t>se the SSMS to update a record in the jobs table on the hub database</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SELECT * FROM [</a:t>
            </a:r>
            <a:r>
              <a:rPr lang="en-US" sz="800" b="0" i="0" u="none" strike="noStrike" kern="1200" dirty="0" err="1">
                <a:solidFill>
                  <a:schemeClr val="tx1"/>
                </a:solidFill>
                <a:effectLst/>
                <a:latin typeface="Segoe UI Light" pitchFamily="34" charset="0"/>
                <a:ea typeface="+mn-ea"/>
                <a:cs typeface="+mn-cs"/>
              </a:rPr>
              <a:t>dbo</a:t>
            </a:r>
            <a:r>
              <a:rPr lang="en-US" sz="800" b="0" i="0" u="none" strike="noStrike" kern="1200" dirty="0">
                <a:solidFill>
                  <a:schemeClr val="tx1"/>
                </a:solidFill>
                <a:effectLst/>
                <a:latin typeface="Segoe UI Light" pitchFamily="34" charset="0"/>
                <a:ea typeface="+mn-ea"/>
                <a:cs typeface="+mn-cs"/>
              </a:rPr>
              <a:t>].[jobs]  WHERE </a:t>
            </a:r>
            <a:r>
              <a:rPr lang="en-US" sz="800" b="0" i="0" u="none" strike="noStrike" kern="1200" dirty="0" err="1">
                <a:solidFill>
                  <a:schemeClr val="tx1"/>
                </a:solidFill>
                <a:effectLst/>
                <a:latin typeface="Segoe UI Light" pitchFamily="34" charset="0"/>
                <a:ea typeface="+mn-ea"/>
                <a:cs typeface="+mn-cs"/>
              </a:rPr>
              <a:t>job_id</a:t>
            </a:r>
            <a:r>
              <a:rPr lang="en-US" sz="800" b="0" i="0" u="none" strike="noStrike" kern="1200" dirty="0">
                <a:solidFill>
                  <a:schemeClr val="tx1"/>
                </a:solidFill>
                <a:effectLst/>
                <a:latin typeface="Segoe UI Light" pitchFamily="34" charset="0"/>
                <a:ea typeface="+mn-ea"/>
                <a:cs typeface="+mn-cs"/>
              </a:rPr>
              <a:t> = 1</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UPDATE [</a:t>
            </a:r>
            <a:r>
              <a:rPr lang="en-US" sz="800" b="0" i="0" u="none" strike="noStrike" kern="1200" dirty="0" err="1">
                <a:solidFill>
                  <a:schemeClr val="tx1"/>
                </a:solidFill>
                <a:effectLst/>
                <a:latin typeface="Segoe UI Light" pitchFamily="34" charset="0"/>
                <a:ea typeface="+mn-ea"/>
                <a:cs typeface="+mn-cs"/>
              </a:rPr>
              <a:t>dbo</a:t>
            </a:r>
            <a:r>
              <a:rPr lang="en-US" sz="800" b="0" i="0" u="none" strike="noStrike" kern="1200" dirty="0">
                <a:solidFill>
                  <a:schemeClr val="tx1"/>
                </a:solidFill>
                <a:effectLst/>
                <a:latin typeface="Segoe UI Light" pitchFamily="34" charset="0"/>
                <a:ea typeface="+mn-ea"/>
                <a:cs typeface="+mn-cs"/>
              </a:rPr>
              <a:t>].[jobs] SET [</a:t>
            </a:r>
            <a:r>
              <a:rPr lang="en-US" sz="800" b="0" i="0" u="none" strike="noStrike" kern="1200" dirty="0" err="1">
                <a:solidFill>
                  <a:schemeClr val="tx1"/>
                </a:solidFill>
                <a:effectLst/>
                <a:latin typeface="Segoe UI Light" pitchFamily="34" charset="0"/>
                <a:ea typeface="+mn-ea"/>
                <a:cs typeface="+mn-cs"/>
              </a:rPr>
              <a:t>min_lvl</a:t>
            </a:r>
            <a:r>
              <a:rPr lang="en-US" sz="800" b="0" i="0" u="none" strike="noStrike" kern="1200" dirty="0">
                <a:solidFill>
                  <a:schemeClr val="tx1"/>
                </a:solidFill>
                <a:effectLst/>
                <a:latin typeface="Segoe UI Light" pitchFamily="34" charset="0"/>
                <a:ea typeface="+mn-ea"/>
                <a:cs typeface="+mn-cs"/>
              </a:rPr>
              <a:t>] = 25 WHERE </a:t>
            </a:r>
            <a:r>
              <a:rPr lang="en-US" sz="800" b="0" i="0" u="none" strike="noStrike" kern="1200" dirty="0" err="1">
                <a:solidFill>
                  <a:schemeClr val="tx1"/>
                </a:solidFill>
                <a:effectLst/>
                <a:latin typeface="Segoe UI Light" pitchFamily="34" charset="0"/>
                <a:ea typeface="+mn-ea"/>
                <a:cs typeface="+mn-cs"/>
              </a:rPr>
              <a:t>job_id</a:t>
            </a:r>
            <a:r>
              <a:rPr lang="en-US" sz="800" b="0" i="0" u="none" strike="noStrike" kern="1200" dirty="0">
                <a:solidFill>
                  <a:schemeClr val="tx1"/>
                </a:solidFill>
                <a:effectLst/>
                <a:latin typeface="Segoe UI Light" pitchFamily="34" charset="0"/>
                <a:ea typeface="+mn-ea"/>
                <a:cs typeface="+mn-cs"/>
              </a:rPr>
              <a:t> =  1</a:t>
            </a:r>
            <a:endParaRPr lang="nl-BE" sz="800" kern="1200" dirty="0">
              <a:solidFill>
                <a:schemeClr val="tx1"/>
              </a:solidFill>
              <a:latin typeface="Segoe UI Light" pitchFamily="34" charset="0"/>
              <a:ea typeface="+mn-ea"/>
              <a:cs typeface="+mn-cs"/>
            </a:endParaRPr>
          </a:p>
          <a:p>
            <a:r>
              <a:rPr lang="nl-BE" sz="800" kern="1200" dirty="0">
                <a:solidFill>
                  <a:schemeClr val="tx1"/>
                </a:solidFill>
                <a:latin typeface="Segoe UI Light" pitchFamily="34" charset="0"/>
                <a:ea typeface="+mn-ea"/>
                <a:cs typeface="+mn-cs"/>
              </a:rPr>
              <a:t>  </a:t>
            </a:r>
            <a:endParaRPr lang="nl-BE" sz="800" b="0" i="0" u="none" strike="noStrike" kern="1200" dirty="0">
              <a:solidFill>
                <a:schemeClr val="tx1"/>
              </a:solidFill>
              <a:effectLst/>
              <a:latin typeface="Segoe UI Light" pitchFamily="34" charset="0"/>
              <a:ea typeface="+mn-ea"/>
              <a:cs typeface="+mn-cs"/>
            </a:endParaRPr>
          </a:p>
          <a:p>
            <a:r>
              <a:rPr lang="nl-BE" sz="800" b="0" i="0" u="none" strike="noStrike" kern="1200" dirty="0">
                <a:solidFill>
                  <a:schemeClr val="tx1"/>
                </a:solidFill>
                <a:effectLst/>
                <a:latin typeface="Segoe UI Light" pitchFamily="34" charset="0"/>
                <a:ea typeface="+mn-ea"/>
                <a:cs typeface="+mn-cs"/>
              </a:rPr>
              <a:t>Go back to the portal and press the Sync button again.</a:t>
            </a:r>
          </a:p>
          <a:p>
            <a:r>
              <a:rPr lang="nl-BE" sz="800" b="0" i="0" u="none" strike="noStrike" kern="1200" dirty="0">
                <a:solidFill>
                  <a:schemeClr val="tx1"/>
                </a:solidFill>
                <a:effectLst/>
                <a:latin typeface="Segoe UI Light" pitchFamily="34" charset="0"/>
                <a:ea typeface="+mn-ea"/>
                <a:cs typeface="+mn-cs"/>
              </a:rPr>
              <a:t>Verify if the record was replicated.</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SELECT * FROM [</a:t>
            </a:r>
            <a:r>
              <a:rPr lang="en-US" sz="800" b="0" i="0" u="none" strike="noStrike" kern="1200" dirty="0" err="1">
                <a:solidFill>
                  <a:schemeClr val="tx1"/>
                </a:solidFill>
                <a:effectLst/>
                <a:latin typeface="Segoe UI Light" pitchFamily="34" charset="0"/>
                <a:ea typeface="+mn-ea"/>
                <a:cs typeface="+mn-cs"/>
              </a:rPr>
              <a:t>dbo</a:t>
            </a:r>
            <a:r>
              <a:rPr lang="en-US" sz="800" b="0" i="0" u="none" strike="noStrike" kern="1200" dirty="0">
                <a:solidFill>
                  <a:schemeClr val="tx1"/>
                </a:solidFill>
                <a:effectLst/>
                <a:latin typeface="Segoe UI Light" pitchFamily="34" charset="0"/>
                <a:ea typeface="+mn-ea"/>
                <a:cs typeface="+mn-cs"/>
              </a:rPr>
              <a:t>].[jobs]  WHERE </a:t>
            </a:r>
            <a:r>
              <a:rPr lang="en-US" sz="800" b="0" i="0" u="none" strike="noStrike" kern="1200" dirty="0" err="1">
                <a:solidFill>
                  <a:schemeClr val="tx1"/>
                </a:solidFill>
                <a:effectLst/>
                <a:latin typeface="Segoe UI Light" pitchFamily="34" charset="0"/>
                <a:ea typeface="+mn-ea"/>
                <a:cs typeface="+mn-cs"/>
              </a:rPr>
              <a:t>job_id</a:t>
            </a:r>
            <a:r>
              <a:rPr lang="en-US" sz="800" b="0" i="0" u="none" strike="noStrike" kern="1200" dirty="0">
                <a:solidFill>
                  <a:schemeClr val="tx1"/>
                </a:solidFill>
                <a:effectLst/>
                <a:latin typeface="Segoe UI Light" pitchFamily="34" charset="0"/>
                <a:ea typeface="+mn-ea"/>
                <a:cs typeface="+mn-cs"/>
              </a:rPr>
              <a:t> = 1</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Update a second record on the on-premises database</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UPDATE [</a:t>
            </a:r>
            <a:r>
              <a:rPr lang="en-US" sz="800" b="0" i="0" u="none" strike="noStrike" kern="1200" dirty="0" err="1">
                <a:solidFill>
                  <a:schemeClr val="tx1"/>
                </a:solidFill>
                <a:effectLst/>
                <a:latin typeface="Segoe UI Light" pitchFamily="34" charset="0"/>
                <a:ea typeface="+mn-ea"/>
                <a:cs typeface="+mn-cs"/>
              </a:rPr>
              <a:t>dbo</a:t>
            </a:r>
            <a:r>
              <a:rPr lang="en-US" sz="800" b="0" i="0" u="none" strike="noStrike" kern="1200" dirty="0">
                <a:solidFill>
                  <a:schemeClr val="tx1"/>
                </a:solidFill>
                <a:effectLst/>
                <a:latin typeface="Segoe UI Light" pitchFamily="34" charset="0"/>
                <a:ea typeface="+mn-ea"/>
                <a:cs typeface="+mn-cs"/>
              </a:rPr>
              <a:t>].[jobs] SET [</a:t>
            </a:r>
            <a:r>
              <a:rPr lang="en-US" sz="800" b="0" i="0" u="none" strike="noStrike" kern="1200" dirty="0" err="1">
                <a:solidFill>
                  <a:schemeClr val="tx1"/>
                </a:solidFill>
                <a:effectLst/>
                <a:latin typeface="Segoe UI Light" pitchFamily="34" charset="0"/>
                <a:ea typeface="+mn-ea"/>
                <a:cs typeface="+mn-cs"/>
              </a:rPr>
              <a:t>max_lvl</a:t>
            </a:r>
            <a:r>
              <a:rPr lang="en-US" sz="800" b="0" i="0" u="none" strike="noStrike" kern="1200" dirty="0">
                <a:solidFill>
                  <a:schemeClr val="tx1"/>
                </a:solidFill>
                <a:effectLst/>
                <a:latin typeface="Segoe UI Light" pitchFamily="34" charset="0"/>
                <a:ea typeface="+mn-ea"/>
                <a:cs typeface="+mn-cs"/>
              </a:rPr>
              <a:t>] = 150 WHERE </a:t>
            </a:r>
            <a:r>
              <a:rPr lang="en-US" sz="800" b="0" i="0" u="none" strike="noStrike" kern="1200" dirty="0" err="1">
                <a:solidFill>
                  <a:schemeClr val="tx1"/>
                </a:solidFill>
                <a:effectLst/>
                <a:latin typeface="Segoe UI Light" pitchFamily="34" charset="0"/>
                <a:ea typeface="+mn-ea"/>
                <a:cs typeface="+mn-cs"/>
              </a:rPr>
              <a:t>job_id</a:t>
            </a:r>
            <a:r>
              <a:rPr lang="en-US" sz="800" b="0" i="0" u="none" strike="noStrike" kern="1200" dirty="0">
                <a:solidFill>
                  <a:schemeClr val="tx1"/>
                </a:solidFill>
                <a:effectLst/>
                <a:latin typeface="Segoe UI Light" pitchFamily="34" charset="0"/>
                <a:ea typeface="+mn-ea"/>
                <a:cs typeface="+mn-cs"/>
              </a:rPr>
              <a:t> =  1</a:t>
            </a:r>
            <a:endParaRPr lang="en-US" sz="800" kern="1200" dirty="0">
              <a:solidFill>
                <a:schemeClr val="tx1"/>
              </a:solidFill>
              <a:latin typeface="Segoe UI Light" pitchFamily="34" charset="0"/>
              <a:ea typeface="+mn-ea"/>
              <a:cs typeface="+mn-cs"/>
            </a:endParaRPr>
          </a:p>
          <a:p>
            <a:endParaRPr lang="nl-BE" sz="800" b="0" i="0" u="none" strike="noStrike" kern="1200" dirty="0">
              <a:solidFill>
                <a:schemeClr val="tx1"/>
              </a:solidFill>
              <a:effectLst/>
              <a:latin typeface="Segoe UI Light" pitchFamily="34" charset="0"/>
              <a:ea typeface="+mn-ea"/>
              <a:cs typeface="+mn-cs"/>
            </a:endParaRPr>
          </a:p>
          <a:p>
            <a:r>
              <a:rPr lang="nl-BE" sz="800" b="0" i="0" u="none" strike="noStrike" kern="1200" dirty="0">
                <a:solidFill>
                  <a:schemeClr val="tx1"/>
                </a:solidFill>
                <a:effectLst/>
                <a:latin typeface="Segoe UI Light" pitchFamily="34" charset="0"/>
                <a:ea typeface="+mn-ea"/>
                <a:cs typeface="+mn-cs"/>
              </a:rPr>
              <a:t>Go back to the portal and press the Sync button again.</a:t>
            </a:r>
          </a:p>
          <a:p>
            <a:r>
              <a:rPr lang="nl-BE" sz="800" b="0" i="0" u="none" strike="noStrike" kern="1200" dirty="0">
                <a:solidFill>
                  <a:schemeClr val="tx1"/>
                </a:solidFill>
                <a:effectLst/>
                <a:latin typeface="Segoe UI Light" pitchFamily="34" charset="0"/>
                <a:ea typeface="+mn-ea"/>
                <a:cs typeface="+mn-cs"/>
              </a:rPr>
              <a:t>Verify if the record was replicated.</a:t>
            </a:r>
          </a:p>
          <a:p>
            <a:endParaRPr lang="en-US" sz="800" b="0" i="0" u="none" strike="noStrike" kern="1200" dirty="0">
              <a:solidFill>
                <a:schemeClr val="tx1"/>
              </a:solidFill>
              <a:effectLst/>
              <a:latin typeface="Segoe UI Light" pitchFamily="34" charset="0"/>
              <a:ea typeface="+mn-ea"/>
              <a:cs typeface="+mn-cs"/>
            </a:endParaRPr>
          </a:p>
          <a:p>
            <a:r>
              <a:rPr lang="en-US" dirty="0"/>
              <a:t>SELECT * FROM [</a:t>
            </a:r>
            <a:r>
              <a:rPr lang="en-US" dirty="0" err="1"/>
              <a:t>dbo</a:t>
            </a:r>
            <a:r>
              <a:rPr lang="en-US" dirty="0"/>
              <a:t>].[jobs]  WHERE </a:t>
            </a:r>
            <a:r>
              <a:rPr lang="en-US" dirty="0" err="1"/>
              <a:t>job_id</a:t>
            </a:r>
            <a:r>
              <a:rPr lang="en-US" dirty="0"/>
              <a:t> = 1</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a:p>
        </p:txBody>
      </p:sp>
    </p:spTree>
    <p:extLst>
      <p:ext uri="{BB962C8B-B14F-4D97-AF65-F5344CB8AC3E}">
        <p14:creationId xmlns:p14="http://schemas.microsoft.com/office/powerpoint/2010/main" val="6496223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6L06Lab01</a:t>
            </a:r>
            <a:endParaRPr lang="en-US" sz="800" b="0" i="0" u="none" strike="noStrike"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9167351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solidFill>
                  <a:srgbClr val="FFFFFF"/>
                </a:solidFill>
                <a:latin typeface="Segoe UI Light"/>
                <a:cs typeface="Segoe UI Light"/>
              </a:rPr>
              <a:t>Q1: Which databases</a:t>
            </a:r>
            <a:r>
              <a:rPr lang="en-US" sz="900" dirty="0">
                <a:solidFill>
                  <a:srgbClr val="FFFFFF"/>
                </a:solidFill>
                <a:latin typeface="Segoe UI Light"/>
                <a:cs typeface="Segoe UI Light"/>
              </a:rPr>
              <a:t> are part of a Sync Group?</a:t>
            </a:r>
            <a:endParaRPr kumimoji="0" lang="en-US" sz="900" b="0" i="0" u="none" strike="noStrike" kern="1200" cap="none" spc="0" normalizeH="0" baseline="0" noProof="0" dirty="0">
              <a:ln>
                <a:noFill/>
              </a:ln>
              <a:solidFill>
                <a:srgbClr val="FFFFFF"/>
              </a:solidFill>
              <a:effectLst/>
              <a:uLnTx/>
              <a:uFillTx/>
              <a:latin typeface="Segoe UI Light"/>
              <a:cs typeface="Segoe UI Light"/>
            </a:endParaRPr>
          </a:p>
          <a:p>
            <a:r>
              <a:rPr lang="en-US" dirty="0"/>
              <a:t>Answer 1</a:t>
            </a:r>
            <a:r>
              <a:rPr lang="en-US" baseline="0" dirty="0"/>
              <a:t>:</a:t>
            </a:r>
          </a:p>
          <a:p>
            <a:r>
              <a:rPr lang="en-US" sz="900" b="0" i="0" u="none" strike="noStrike" kern="1200" dirty="0">
                <a:solidFill>
                  <a:schemeClr val="tx1"/>
                </a:solidFill>
                <a:effectLst/>
                <a:latin typeface="Segoe UI Light" pitchFamily="34" charset="0"/>
                <a:ea typeface="+mn-ea"/>
                <a:cs typeface="+mn-cs"/>
              </a:rPr>
              <a:t>The </a:t>
            </a:r>
            <a:r>
              <a:rPr lang="en-US" sz="900" b="1" i="0" u="none" strike="noStrike" kern="1200" dirty="0">
                <a:solidFill>
                  <a:schemeClr val="tx1"/>
                </a:solidFill>
                <a:effectLst/>
                <a:latin typeface="Segoe UI Light" pitchFamily="34" charset="0"/>
                <a:ea typeface="+mn-ea"/>
                <a:cs typeface="+mn-cs"/>
              </a:rPr>
              <a:t>Hub Database</a:t>
            </a:r>
            <a:r>
              <a:rPr lang="en-US" sz="900" b="0" i="0" u="none" strike="noStrike" kern="1200" dirty="0">
                <a:solidFill>
                  <a:schemeClr val="tx1"/>
                </a:solidFill>
                <a:effectLst/>
                <a:latin typeface="Segoe UI Light" pitchFamily="34" charset="0"/>
                <a:ea typeface="+mn-ea"/>
                <a:cs typeface="+mn-cs"/>
              </a:rPr>
              <a:t> must be an Azure SQL Database.</a:t>
            </a:r>
          </a:p>
          <a:p>
            <a:r>
              <a:rPr lang="en-US" sz="900" b="0" i="0" u="none" strike="noStrike" kern="1200" dirty="0">
                <a:solidFill>
                  <a:schemeClr val="tx1"/>
                </a:solidFill>
                <a:effectLst/>
                <a:latin typeface="Segoe UI Light" pitchFamily="34" charset="0"/>
                <a:ea typeface="+mn-ea"/>
                <a:cs typeface="+mn-cs"/>
              </a:rPr>
              <a:t>The </a:t>
            </a:r>
            <a:r>
              <a:rPr lang="en-US" sz="900" b="1" i="0" u="none" strike="noStrike" kern="1200" dirty="0">
                <a:solidFill>
                  <a:schemeClr val="tx1"/>
                </a:solidFill>
                <a:effectLst/>
                <a:latin typeface="Segoe UI Light" pitchFamily="34" charset="0"/>
                <a:ea typeface="+mn-ea"/>
                <a:cs typeface="+mn-cs"/>
              </a:rPr>
              <a:t>member databases</a:t>
            </a:r>
            <a:r>
              <a:rPr lang="en-US" sz="900" b="0" i="0" u="none" strike="noStrike" kern="1200" dirty="0">
                <a:solidFill>
                  <a:schemeClr val="tx1"/>
                </a:solidFill>
                <a:effectLst/>
                <a:latin typeface="Segoe UI Light" pitchFamily="34" charset="0"/>
                <a:ea typeface="+mn-ea"/>
                <a:cs typeface="+mn-cs"/>
              </a:rPr>
              <a:t> can be either SQL Databases, on-premises SQL Server databases, or SQL Server instances on Azure virtual machines.</a:t>
            </a:r>
          </a:p>
          <a:p>
            <a:r>
              <a:rPr lang="en-US" sz="900" b="0" i="0" u="none" strike="noStrike" kern="1200" dirty="0">
                <a:solidFill>
                  <a:schemeClr val="tx1"/>
                </a:solidFill>
                <a:effectLst/>
                <a:latin typeface="Segoe UI Light" pitchFamily="34" charset="0"/>
                <a:ea typeface="+mn-ea"/>
                <a:cs typeface="+mn-cs"/>
              </a:rPr>
              <a:t>The </a:t>
            </a:r>
            <a:r>
              <a:rPr lang="en-US" sz="900" b="1" i="0" u="none" strike="noStrike" kern="1200" dirty="0">
                <a:solidFill>
                  <a:schemeClr val="tx1"/>
                </a:solidFill>
                <a:effectLst/>
                <a:latin typeface="Segoe UI Light" pitchFamily="34" charset="0"/>
                <a:ea typeface="+mn-ea"/>
                <a:cs typeface="+mn-cs"/>
              </a:rPr>
              <a:t>Sync Database</a:t>
            </a:r>
            <a:r>
              <a:rPr lang="en-US" sz="900" b="0" i="0" u="none" strike="noStrike" kern="1200" dirty="0">
                <a:solidFill>
                  <a:schemeClr val="tx1"/>
                </a:solidFill>
                <a:effectLst/>
                <a:latin typeface="Segoe UI Light" pitchFamily="34" charset="0"/>
                <a:ea typeface="+mn-ea"/>
                <a:cs typeface="+mn-cs"/>
              </a:rPr>
              <a:t> contains the metadata and log for Data Sync. The Sync Database has to be an Azure SQL Database located in the same region as the Hub Database. The Sync Database is customer created and customer own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rgbClr val="FFFFFF"/>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FFFFFF"/>
                </a:solidFill>
              </a:rPr>
              <a:t>Q2: Which options can you use to resolve Conflicts?</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swer 2</a:t>
            </a:r>
            <a:r>
              <a:rPr lang="en-US" baseline="0" dirty="0"/>
              <a:t>:</a:t>
            </a:r>
          </a:p>
          <a:p>
            <a:r>
              <a:rPr lang="en-US" sz="900" b="1" i="0" u="none" strike="noStrike" kern="1200" dirty="0">
                <a:solidFill>
                  <a:schemeClr val="tx1"/>
                </a:solidFill>
                <a:effectLst/>
                <a:latin typeface="Segoe UI Light" pitchFamily="34" charset="0"/>
                <a:ea typeface="+mn-ea"/>
                <a:cs typeface="+mn-cs"/>
              </a:rPr>
              <a:t>Resolving conflicts:</a:t>
            </a:r>
            <a:r>
              <a:rPr lang="en-US" sz="900" b="0" i="0" u="none" strike="noStrike" kern="1200" dirty="0">
                <a:solidFill>
                  <a:schemeClr val="tx1"/>
                </a:solidFill>
                <a:effectLst/>
                <a:latin typeface="Segoe UI Light" pitchFamily="34" charset="0"/>
                <a:ea typeface="+mn-ea"/>
                <a:cs typeface="+mn-cs"/>
              </a:rPr>
              <a:t> Data Sync provides two options for conflict resolution, </a:t>
            </a:r>
            <a:r>
              <a:rPr lang="en-US" sz="900" b="0" i="1" u="none" strike="noStrike" kern="1200" dirty="0">
                <a:solidFill>
                  <a:schemeClr val="tx1"/>
                </a:solidFill>
                <a:effectLst/>
                <a:latin typeface="Segoe UI Light" pitchFamily="34" charset="0"/>
                <a:ea typeface="+mn-ea"/>
                <a:cs typeface="+mn-cs"/>
              </a:rPr>
              <a:t>Hub wins</a:t>
            </a:r>
            <a:r>
              <a:rPr lang="en-US" sz="900" b="0" i="0" u="none" strike="noStrike" kern="1200" dirty="0">
                <a:solidFill>
                  <a:schemeClr val="tx1"/>
                </a:solidFill>
                <a:effectLst/>
                <a:latin typeface="Segoe UI Light" pitchFamily="34" charset="0"/>
                <a:ea typeface="+mn-ea"/>
                <a:cs typeface="+mn-cs"/>
              </a:rPr>
              <a:t> or </a:t>
            </a:r>
            <a:r>
              <a:rPr lang="en-US" sz="900" b="0" i="1" u="none" strike="noStrike" kern="1200" dirty="0">
                <a:solidFill>
                  <a:schemeClr val="tx1"/>
                </a:solidFill>
                <a:effectLst/>
                <a:latin typeface="Segoe UI Light" pitchFamily="34" charset="0"/>
                <a:ea typeface="+mn-ea"/>
                <a:cs typeface="+mn-cs"/>
              </a:rPr>
              <a:t>Member wins</a:t>
            </a:r>
            <a:r>
              <a:rPr lang="en-US" sz="900" b="0" i="0" u="none" strike="noStrike" kern="1200" dirty="0">
                <a:solidFill>
                  <a:schemeClr val="tx1"/>
                </a:solidFill>
                <a:effectLst/>
                <a:latin typeface="Segoe UI Light" pitchFamily="34" charset="0"/>
                <a:ea typeface="+mn-ea"/>
                <a:cs typeface="+mn-cs"/>
              </a:rPr>
              <a:t>.</a:t>
            </a:r>
          </a:p>
          <a:p>
            <a:r>
              <a:rPr lang="en-US" sz="900" b="0" i="0" u="none" strike="noStrike" kern="1200" dirty="0">
                <a:solidFill>
                  <a:schemeClr val="tx1"/>
                </a:solidFill>
                <a:effectLst/>
                <a:latin typeface="Segoe UI Light" pitchFamily="34" charset="0"/>
                <a:ea typeface="+mn-ea"/>
                <a:cs typeface="+mn-cs"/>
              </a:rPr>
              <a:t>If you select </a:t>
            </a:r>
            <a:r>
              <a:rPr lang="en-US" sz="900" b="0" i="1" u="none" strike="noStrike" kern="1200" dirty="0">
                <a:solidFill>
                  <a:schemeClr val="tx1"/>
                </a:solidFill>
                <a:effectLst/>
                <a:latin typeface="Segoe UI Light" pitchFamily="34" charset="0"/>
                <a:ea typeface="+mn-ea"/>
                <a:cs typeface="+mn-cs"/>
              </a:rPr>
              <a:t>Hub wins</a:t>
            </a:r>
            <a:r>
              <a:rPr lang="en-US" sz="900" b="0" i="0" u="none" strike="noStrike" kern="1200" dirty="0">
                <a:solidFill>
                  <a:schemeClr val="tx1"/>
                </a:solidFill>
                <a:effectLst/>
                <a:latin typeface="Segoe UI Light" pitchFamily="34" charset="0"/>
                <a:ea typeface="+mn-ea"/>
                <a:cs typeface="+mn-cs"/>
              </a:rPr>
              <a:t>, the changes in the hub always overwrite changes in the member.</a:t>
            </a:r>
          </a:p>
          <a:p>
            <a:r>
              <a:rPr lang="en-US" sz="900" b="0" i="0" u="none" strike="noStrike" kern="1200" dirty="0">
                <a:solidFill>
                  <a:schemeClr val="tx1"/>
                </a:solidFill>
                <a:effectLst/>
                <a:latin typeface="Segoe UI Light" pitchFamily="34" charset="0"/>
                <a:ea typeface="+mn-ea"/>
                <a:cs typeface="+mn-cs"/>
              </a:rPr>
              <a:t>If you select </a:t>
            </a:r>
            <a:r>
              <a:rPr lang="en-US" sz="900" b="0" i="1" u="none" strike="noStrike" kern="1200" dirty="0">
                <a:solidFill>
                  <a:schemeClr val="tx1"/>
                </a:solidFill>
                <a:effectLst/>
                <a:latin typeface="Segoe UI Light" pitchFamily="34" charset="0"/>
                <a:ea typeface="+mn-ea"/>
                <a:cs typeface="+mn-cs"/>
              </a:rPr>
              <a:t>Member wins</a:t>
            </a:r>
            <a:r>
              <a:rPr lang="en-US" sz="900" b="0" i="0" u="none" strike="noStrike" kern="1200" dirty="0">
                <a:solidFill>
                  <a:schemeClr val="tx1"/>
                </a:solidFill>
                <a:effectLst/>
                <a:latin typeface="Segoe UI Light" pitchFamily="34" charset="0"/>
                <a:ea typeface="+mn-ea"/>
                <a:cs typeface="+mn-cs"/>
              </a:rPr>
              <a:t>, the changes in the member overwrite changes in the hub. If there's more than one member, the final value depends on which member syncs firs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solidFill>
                <a:srgbClr val="FFFFFF"/>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FFFFFF"/>
                </a:solidFill>
              </a:rPr>
              <a:t>Q3: What are the 3 main steps to setup Data Sync?</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Answer 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tep 1 - Create sync group</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tep 2 – Add Sync Member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tep 3 – Configure sync group</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endParaRPr lang="en-US" baseline="0" dirty="0"/>
          </a:p>
          <a:p>
            <a:endParaRPr lang="en-US" baseline="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0/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esson 2 covers the steps to assess whether your database is ready to migrate to Azure SQL Database.</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1190239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esson 2 covers the steps to assess whether your database is ready to migrate to Azure SQL Database.</a:t>
            </a:r>
            <a:endParaRPr lang="nl-BE"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Analyze your database for compatibility with Azure SQL Database</a:t>
            </a:r>
            <a:endParaRPr lang="en-US" dirty="0">
              <a:effectLst/>
            </a:endParaRPr>
          </a:p>
          <a:p>
            <a:endParaRPr lang="en-US" dirty="0"/>
          </a:p>
          <a:p>
            <a:r>
              <a:rPr lang="en-US" dirty="0"/>
              <a:t>The following step-by-step instructions help you perform your first assessment for migrating to on-premises SQL Server, SQL Server running on an Azure VM, or Azure SQL Database, by using Data Migration Assistant.</a:t>
            </a:r>
            <a:endParaRPr lang="en-US" dirty="0">
              <a:effectLst/>
            </a:endParaRPr>
          </a:p>
          <a:p>
            <a:endParaRPr lang="en-US" dirty="0"/>
          </a:p>
          <a:p>
            <a:r>
              <a:rPr lang="en-US" dirty="0"/>
              <a:t>Perform a SQL Server migration assessment with Data Migration Assistant:</a:t>
            </a:r>
          </a:p>
          <a:p>
            <a:r>
              <a:rPr lang="en-US" dirty="0">
                <a:hlinkClick r:id="rId3"/>
              </a:rPr>
              <a:t>https://docs.microsoft.com/en-us/sql/dma/dma-assesssqlonprem?view=sql-server-2017</a:t>
            </a:r>
            <a:r>
              <a:rPr lang="en-US" dirty="0"/>
              <a:t>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18447270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498911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40032873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5948016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32654249"/>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0033444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3144936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0262505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8896941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836839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88402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629414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17363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523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607209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1540543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168576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8859177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0458410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5077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650085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7747419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248057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953889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017790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67952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448452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160219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8861428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622433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35493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146730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628795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062760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515542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520042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135253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1727764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186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650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25213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08491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33953185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801572"/>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721717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tags" Target="../tags/tag6.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theme" Target="../theme/theme2.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tags" Target="../tags/tag7.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tags" Target="../tags/tag5.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1937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4.png"/><Relationship Id="rId2" Type="http://schemas.openxmlformats.org/officeDocument/2006/relationships/customXml" Target="../../customXml/item13.xml"/><Relationship Id="rId1" Type="http://schemas.openxmlformats.org/officeDocument/2006/relationships/tags" Target="../tags/tag12.xml"/><Relationship Id="rId6" Type="http://schemas.openxmlformats.org/officeDocument/2006/relationships/notesSlide" Target="../notesSlides/notesSlide8.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Colors" Target="../diagrams/colors2.xml"/><Relationship Id="rId11" Type="http://schemas.openxmlformats.org/officeDocument/2006/relationships/image" Target="../media/image19.png"/><Relationship Id="rId5" Type="http://schemas.openxmlformats.org/officeDocument/2006/relationships/diagramQuickStyle" Target="../diagrams/quickStyle2.xml"/><Relationship Id="rId10" Type="http://schemas.openxmlformats.org/officeDocument/2006/relationships/image" Target="../media/image18.png"/><Relationship Id="rId4" Type="http://schemas.openxmlformats.org/officeDocument/2006/relationships/diagramLayout" Target="../diagrams/layout2.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14.xml"/><Relationship Id="rId4" Type="http://schemas.openxmlformats.org/officeDocument/2006/relationships/image" Target="../media/image2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5.jfif"/><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4.png"/><Relationship Id="rId2" Type="http://schemas.openxmlformats.org/officeDocument/2006/relationships/customXml" Target="../../customXml/item2.xml"/><Relationship Id="rId1" Type="http://schemas.openxmlformats.org/officeDocument/2006/relationships/tags" Target="../tags/tag17.xml"/><Relationship Id="rId6" Type="http://schemas.openxmlformats.org/officeDocument/2006/relationships/notesSlide" Target="../notesSlides/notesSlide13.xml"/><Relationship Id="rId5" Type="http://schemas.openxmlformats.org/officeDocument/2006/relationships/slideLayout" Target="../slideLayouts/slideLayout9.xml"/><Relationship Id="rId4"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5.jfif"/><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9.xml"/><Relationship Id="rId1" Type="http://schemas.openxmlformats.org/officeDocument/2006/relationships/tags" Target="../tags/tag21.xml"/><Relationship Id="rId6" Type="http://schemas.openxmlformats.org/officeDocument/2006/relationships/notesSlide" Target="../notesSlides/notesSlide17.xml"/><Relationship Id="rId5" Type="http://schemas.openxmlformats.org/officeDocument/2006/relationships/slideLayout" Target="../slideLayouts/slideLayout9.xml"/><Relationship Id="rId4" Type="http://schemas.openxmlformats.org/officeDocument/2006/relationships/tags" Target="../tags/tag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5.jfif"/><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4.png"/><Relationship Id="rId2" Type="http://schemas.openxmlformats.org/officeDocument/2006/relationships/customXml" Target="../../customXml/item6.xml"/><Relationship Id="rId1" Type="http://schemas.openxmlformats.org/officeDocument/2006/relationships/tags" Target="../tags/tag25.x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26.xml"/></Relationships>
</file>

<file path=ppt/slides/_rels/slide2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6.xml"/><Relationship Id="rId11" Type="http://schemas.openxmlformats.org/officeDocument/2006/relationships/image" Target="../media/image27.png"/><Relationship Id="rId5" Type="http://schemas.openxmlformats.org/officeDocument/2006/relationships/diagramQuickStyle" Target="../diagrams/quickStyle6.xml"/><Relationship Id="rId10" Type="http://schemas.openxmlformats.org/officeDocument/2006/relationships/image" Target="../media/image26.png"/><Relationship Id="rId4" Type="http://schemas.openxmlformats.org/officeDocument/2006/relationships/diagramLayout" Target="../diagrams/layout6.xml"/><Relationship Id="rId9" Type="http://schemas.openxmlformats.org/officeDocument/2006/relationships/image" Target="../media/image25.png"/><Relationship Id="rId14" Type="http://schemas.openxmlformats.org/officeDocument/2006/relationships/image" Target="../media/image30.png"/></Relationships>
</file>

<file path=ppt/slides/_rels/slide2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diagramColors" Target="../diagrams/colors9.xml"/><Relationship Id="rId3" Type="http://schemas.openxmlformats.org/officeDocument/2006/relationships/notesSlide" Target="../notesSlides/notesSlide26.xml"/><Relationship Id="rId7" Type="http://schemas.openxmlformats.org/officeDocument/2006/relationships/image" Target="../media/image34.emf"/><Relationship Id="rId12" Type="http://schemas.openxmlformats.org/officeDocument/2006/relationships/diagramQuickStyle" Target="../diagrams/quickStyle9.xml"/><Relationship Id="rId2" Type="http://schemas.openxmlformats.org/officeDocument/2006/relationships/slideLayout" Target="../slideLayouts/slideLayout8.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diagramLayout" Target="../diagrams/layout9.xml"/><Relationship Id="rId5" Type="http://schemas.openxmlformats.org/officeDocument/2006/relationships/image" Target="../media/image33.emf"/><Relationship Id="rId10" Type="http://schemas.openxmlformats.org/officeDocument/2006/relationships/diagramData" Target="../diagrams/data9.xml"/><Relationship Id="rId4" Type="http://schemas.openxmlformats.org/officeDocument/2006/relationships/oleObject" Target="../embeddings/oleObject1.bin"/><Relationship Id="rId9" Type="http://schemas.openxmlformats.org/officeDocument/2006/relationships/image" Target="../media/image35.emf"/><Relationship Id="rId14" Type="http://schemas.microsoft.com/office/2007/relationships/diagramDrawing" Target="../diagrams/drawing9.xml"/></Relationships>
</file>

<file path=ppt/slides/_rels/slide2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diagramData" Target="../diagrams/data10.xml"/><Relationship Id="rId7" Type="http://schemas.microsoft.com/office/2007/relationships/diagramDrawing" Target="../diagrams/drawing10.xml"/><Relationship Id="rId12"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10.xml"/><Relationship Id="rId11" Type="http://schemas.openxmlformats.org/officeDocument/2006/relationships/image" Target="../media/image39.png"/><Relationship Id="rId5" Type="http://schemas.openxmlformats.org/officeDocument/2006/relationships/diagramQuickStyle" Target="../diagrams/quickStyle10.xml"/><Relationship Id="rId10" Type="http://schemas.openxmlformats.org/officeDocument/2006/relationships/image" Target="../media/image38.png"/><Relationship Id="rId4" Type="http://schemas.openxmlformats.org/officeDocument/2006/relationships/diagramLayout" Target="../diagrams/layout10.xml"/><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1.xml"/><Relationship Id="rId7" Type="http://schemas.microsoft.com/office/2007/relationships/diagramDrawing" Target="../diagrams/drawing11.xml"/><Relationship Id="rId12"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11.xml"/><Relationship Id="rId11" Type="http://schemas.openxmlformats.org/officeDocument/2006/relationships/image" Target="../media/image45.png"/><Relationship Id="rId5" Type="http://schemas.openxmlformats.org/officeDocument/2006/relationships/diagramQuickStyle" Target="../diagrams/quickStyle11.xml"/><Relationship Id="rId10" Type="http://schemas.openxmlformats.org/officeDocument/2006/relationships/image" Target="../media/image44.png"/><Relationship Id="rId4" Type="http://schemas.openxmlformats.org/officeDocument/2006/relationships/diagramLayout" Target="../diagrams/layout11.xml"/><Relationship Id="rId9"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27.xml"/><Relationship Id="rId4" Type="http://schemas.openxmlformats.org/officeDocument/2006/relationships/image" Target="../media/image21.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7.png"/><Relationship Id="rId4"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5.jfif"/><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3.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4.png"/><Relationship Id="rId2" Type="http://schemas.openxmlformats.org/officeDocument/2006/relationships/customXml" Target="../../customXml/item11.xml"/><Relationship Id="rId1" Type="http://schemas.openxmlformats.org/officeDocument/2006/relationships/tags" Target="../tags/tag32.xml"/><Relationship Id="rId6" Type="http://schemas.openxmlformats.org/officeDocument/2006/relationships/notesSlide" Target="../notesSlides/notesSlide35.xml"/><Relationship Id="rId5" Type="http://schemas.openxmlformats.org/officeDocument/2006/relationships/slideLayout" Target="../slideLayouts/slideLayout9.xml"/><Relationship Id="rId4" Type="http://schemas.openxmlformats.org/officeDocument/2006/relationships/tags" Target="../tags/tag33.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8.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1.bin"/><Relationship Id="rId4" Type="http://schemas.openxmlformats.org/officeDocument/2006/relationships/notesSlide" Target="../notesSlides/notesSlide49.xml"/></Relationships>
</file>

<file path=ppt/slides/_rels/slide5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Data" Target="../diagrams/data20.xml"/><Relationship Id="rId7" Type="http://schemas.microsoft.com/office/2007/relationships/diagramDrawing" Target="../diagrams/drawing20.xml"/><Relationship Id="rId12" Type="http://schemas.openxmlformats.org/officeDocument/2006/relationships/image" Target="../media/image55.png"/><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diagramColors" Target="../diagrams/colors20.xml"/><Relationship Id="rId11" Type="http://schemas.openxmlformats.org/officeDocument/2006/relationships/image" Target="../media/image54.png"/><Relationship Id="rId5" Type="http://schemas.openxmlformats.org/officeDocument/2006/relationships/diagramQuickStyle" Target="../diagrams/quickStyle20.xml"/><Relationship Id="rId10" Type="http://schemas.openxmlformats.org/officeDocument/2006/relationships/image" Target="../media/image53.png"/><Relationship Id="rId4" Type="http://schemas.openxmlformats.org/officeDocument/2006/relationships/diagramLayout" Target="../diagrams/layout20.xml"/><Relationship Id="rId9" Type="http://schemas.openxmlformats.org/officeDocument/2006/relationships/image" Target="../media/image52.png"/></Relationships>
</file>

<file path=ppt/slides/_rels/slide5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51.xml"/><Relationship Id="rId1" Type="http://schemas.openxmlformats.org/officeDocument/2006/relationships/slideLayout" Target="../slideLayouts/slideLayout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 Id="rId9" Type="http://schemas.openxmlformats.org/officeDocument/2006/relationships/image" Target="../media/image57.png"/></Relationships>
</file>

<file path=ppt/slides/_rels/slide5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2.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10" Type="http://schemas.openxmlformats.org/officeDocument/2006/relationships/image" Target="../media/image60.png"/><Relationship Id="rId4" Type="http://schemas.openxmlformats.org/officeDocument/2006/relationships/diagramLayout" Target="../diagrams/layout22.xml"/><Relationship Id="rId9" Type="http://schemas.openxmlformats.org/officeDocument/2006/relationships/image" Target="../media/image59.png"/></Relationships>
</file>

<file path=ppt/slides/_rels/slide5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diagramData" Target="../diagrams/data23.xml"/><Relationship Id="rId7" Type="http://schemas.microsoft.com/office/2007/relationships/diagramDrawing" Target="../diagrams/drawing23.xml"/><Relationship Id="rId12" Type="http://schemas.openxmlformats.org/officeDocument/2006/relationships/image" Target="../media/image65.png"/><Relationship Id="rId2" Type="http://schemas.openxmlformats.org/officeDocument/2006/relationships/notesSlide" Target="../notesSlides/notesSlide53.xml"/><Relationship Id="rId1" Type="http://schemas.openxmlformats.org/officeDocument/2006/relationships/slideLayout" Target="../slideLayouts/slideLayout8.xml"/><Relationship Id="rId6" Type="http://schemas.openxmlformats.org/officeDocument/2006/relationships/diagramColors" Target="../diagrams/colors23.xml"/><Relationship Id="rId11" Type="http://schemas.openxmlformats.org/officeDocument/2006/relationships/image" Target="../media/image64.png"/><Relationship Id="rId5" Type="http://schemas.openxmlformats.org/officeDocument/2006/relationships/diagramQuickStyle" Target="../diagrams/quickStyle23.xml"/><Relationship Id="rId10" Type="http://schemas.openxmlformats.org/officeDocument/2006/relationships/image" Target="../media/image63.png"/><Relationship Id="rId4" Type="http://schemas.openxmlformats.org/officeDocument/2006/relationships/diagramLayout" Target="../diagrams/layout23.xml"/><Relationship Id="rId9" Type="http://schemas.openxmlformats.org/officeDocument/2006/relationships/image" Target="../media/image62.png"/></Relationships>
</file>

<file path=ppt/slides/_rels/slide5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diagramColors" Target="../diagrams/colors24.xml"/><Relationship Id="rId5" Type="http://schemas.openxmlformats.org/officeDocument/2006/relationships/diagramQuickStyle" Target="../diagrams/quickStyle24.xml"/><Relationship Id="rId10" Type="http://schemas.openxmlformats.org/officeDocument/2006/relationships/image" Target="../media/image68.png"/><Relationship Id="rId4" Type="http://schemas.openxmlformats.org/officeDocument/2006/relationships/diagramLayout" Target="../diagrams/layout24.xml"/><Relationship Id="rId9" Type="http://schemas.openxmlformats.org/officeDocument/2006/relationships/image" Target="../media/image67.png"/></Relationships>
</file>

<file path=ppt/slides/_rels/slide5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5.xml"/><Relationship Id="rId1" Type="http://schemas.openxmlformats.org/officeDocument/2006/relationships/slideLayout" Target="../slideLayouts/slideLayout9.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 Id="rId9" Type="http://schemas.openxmlformats.org/officeDocument/2006/relationships/image" Target="../media/image70.pn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47.png"/><Relationship Id="rId4" Type="http://schemas.openxmlformats.org/officeDocument/2006/relationships/notesSlide" Target="../notesSlides/notesSlide56.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5.jfif"/><Relationship Id="rId4"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58.xml"/><Relationship Id="rId1" Type="http://schemas.openxmlformats.org/officeDocument/2006/relationships/slideLayout" Target="../slideLayouts/slideLayout14.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27.xml"/><Relationship Id="rId2" Type="http://schemas.openxmlformats.org/officeDocument/2006/relationships/diagramData" Target="../diagrams/data27.xml"/><Relationship Id="rId1" Type="http://schemas.openxmlformats.org/officeDocument/2006/relationships/slideLayout" Target="../slideLayouts/slideLayout36.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5.xml"/><Relationship Id="rId1" Type="http://schemas.openxmlformats.org/officeDocument/2006/relationships/tags" Target="../tags/tag40.xml"/><Relationship Id="rId4" Type="http://schemas.openxmlformats.org/officeDocument/2006/relationships/image" Target="../media/image71.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5.jfif"/><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Azure SQL Database Migration and Sync Data</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6</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7ADCD1CA-9D43-4192-BDBD-3C3625DD5808}"/>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564799FE-BA55-401F-8D55-DEB5DBA172A9}"/>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3D7028B-094A-470F-80F0-741DB1E55EAA}"/>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4E2901A2-7508-435A-8311-0EB8CC45B7CB}"/>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0F889D5-66B8-40D2-BCE1-BF53AC6FF992}"/>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5E13272-3A15-43C0-BE92-B5726E664B83}"/>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B8279609-944B-4E09-90A9-8F4D99980FFB}"/>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3DB0C5DC-E601-42EC-A90F-3055C12B15D4}"/>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BCF2114-60D1-4F73-A931-64030FD2ABEE}"/>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87F8E62B-4DF1-41E6-9516-C40C750AE11A}"/>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Analyze if your database is compatible for migration to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C93F5-60CE-4FCF-B85F-67A31B7FEFA0}"/>
              </a:ext>
            </a:extLst>
          </p:cNvPr>
          <p:cNvSpPr>
            <a:spLocks noGrp="1"/>
          </p:cNvSpPr>
          <p:nvPr>
            <p:ph type="title"/>
          </p:nvPr>
        </p:nvSpPr>
        <p:spPr/>
        <p:txBody>
          <a:bodyPr/>
          <a:lstStyle/>
          <a:p>
            <a:r>
              <a:rPr lang="en-US" dirty="0"/>
              <a:t>Determine Compatibility with DMA</a:t>
            </a:r>
          </a:p>
        </p:txBody>
      </p:sp>
      <p:graphicFrame>
        <p:nvGraphicFramePr>
          <p:cNvPr id="5" name="Content Placeholder 4">
            <a:extLst>
              <a:ext uri="{FF2B5EF4-FFF2-40B4-BE49-F238E27FC236}">
                <a16:creationId xmlns:a16="http://schemas.microsoft.com/office/drawing/2014/main" id="{24414335-65B0-436E-BAE6-FBA78EFBAB8C}"/>
              </a:ext>
            </a:extLst>
          </p:cNvPr>
          <p:cNvGraphicFramePr>
            <a:graphicFrameLocks noGrp="1"/>
          </p:cNvGraphicFramePr>
          <p:nvPr>
            <p:ph sz="quarter" idx="13"/>
            <p:extLst>
              <p:ext uri="{D42A27DB-BD31-4B8C-83A1-F6EECF244321}">
                <p14:modId xmlns:p14="http://schemas.microsoft.com/office/powerpoint/2010/main" val="3926449737"/>
              </p:ext>
            </p:extLst>
          </p:nvPr>
        </p:nvGraphicFramePr>
        <p:xfrm>
          <a:off x="655638" y="1408114"/>
          <a:ext cx="4144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A2F9D861-46C7-4B82-8757-2091906DB610}"/>
              </a:ext>
            </a:extLst>
          </p:cNvPr>
          <p:cNvPicPr>
            <a:picLocks noChangeAspect="1"/>
          </p:cNvPicPr>
          <p:nvPr/>
        </p:nvPicPr>
        <p:blipFill>
          <a:blip r:embed="rId8"/>
          <a:stretch>
            <a:fillRect/>
          </a:stretch>
        </p:blipFill>
        <p:spPr>
          <a:xfrm>
            <a:off x="5611222" y="1443616"/>
            <a:ext cx="5647440" cy="4899536"/>
          </a:xfrm>
          <a:prstGeom prst="rect">
            <a:avLst/>
          </a:prstGeom>
        </p:spPr>
      </p:pic>
      <p:pic>
        <p:nvPicPr>
          <p:cNvPr id="7" name="Picture 6">
            <a:extLst>
              <a:ext uri="{FF2B5EF4-FFF2-40B4-BE49-F238E27FC236}">
                <a16:creationId xmlns:a16="http://schemas.microsoft.com/office/drawing/2014/main" id="{45EEC88B-8711-4C9B-B67E-70B32CDC4105}"/>
              </a:ext>
            </a:extLst>
          </p:cNvPr>
          <p:cNvPicPr>
            <a:picLocks noChangeAspect="1"/>
          </p:cNvPicPr>
          <p:nvPr/>
        </p:nvPicPr>
        <p:blipFill>
          <a:blip r:embed="rId9"/>
          <a:stretch>
            <a:fillRect/>
          </a:stretch>
        </p:blipFill>
        <p:spPr>
          <a:xfrm>
            <a:off x="6784133" y="1468258"/>
            <a:ext cx="3192928" cy="4842023"/>
          </a:xfrm>
          <a:prstGeom prst="rect">
            <a:avLst/>
          </a:prstGeom>
        </p:spPr>
      </p:pic>
      <p:pic>
        <p:nvPicPr>
          <p:cNvPr id="8" name="Picture 7">
            <a:extLst>
              <a:ext uri="{FF2B5EF4-FFF2-40B4-BE49-F238E27FC236}">
                <a16:creationId xmlns:a16="http://schemas.microsoft.com/office/drawing/2014/main" id="{9C8A52D1-9C22-4617-B03E-DE1933C7B790}"/>
              </a:ext>
            </a:extLst>
          </p:cNvPr>
          <p:cNvPicPr>
            <a:picLocks noChangeAspect="1"/>
          </p:cNvPicPr>
          <p:nvPr/>
        </p:nvPicPr>
        <p:blipFill>
          <a:blip r:embed="rId10"/>
          <a:stretch>
            <a:fillRect/>
          </a:stretch>
        </p:blipFill>
        <p:spPr>
          <a:xfrm>
            <a:off x="6648651" y="1417328"/>
            <a:ext cx="3509117" cy="4485959"/>
          </a:xfrm>
          <a:prstGeom prst="rect">
            <a:avLst/>
          </a:prstGeom>
        </p:spPr>
      </p:pic>
      <p:pic>
        <p:nvPicPr>
          <p:cNvPr id="9" name="Picture 8">
            <a:extLst>
              <a:ext uri="{FF2B5EF4-FFF2-40B4-BE49-F238E27FC236}">
                <a16:creationId xmlns:a16="http://schemas.microsoft.com/office/drawing/2014/main" id="{05D417CC-4B8A-4A55-8615-735D7F8C37EB}"/>
              </a:ext>
            </a:extLst>
          </p:cNvPr>
          <p:cNvPicPr>
            <a:picLocks noChangeAspect="1"/>
          </p:cNvPicPr>
          <p:nvPr/>
        </p:nvPicPr>
        <p:blipFill>
          <a:blip r:embed="rId11"/>
          <a:stretch>
            <a:fillRect/>
          </a:stretch>
        </p:blipFill>
        <p:spPr>
          <a:xfrm>
            <a:off x="6578068" y="2303528"/>
            <a:ext cx="3883201" cy="2649910"/>
          </a:xfrm>
          <a:prstGeom prst="rect">
            <a:avLst/>
          </a:prstGeom>
        </p:spPr>
      </p:pic>
      <p:pic>
        <p:nvPicPr>
          <p:cNvPr id="10" name="Picture 9">
            <a:extLst>
              <a:ext uri="{FF2B5EF4-FFF2-40B4-BE49-F238E27FC236}">
                <a16:creationId xmlns:a16="http://schemas.microsoft.com/office/drawing/2014/main" id="{C1A6BF8B-BD08-407A-A080-AFD3FF5240CF}"/>
              </a:ext>
            </a:extLst>
          </p:cNvPr>
          <p:cNvPicPr>
            <a:picLocks noChangeAspect="1"/>
          </p:cNvPicPr>
          <p:nvPr/>
        </p:nvPicPr>
        <p:blipFill>
          <a:blip r:embed="rId12"/>
          <a:stretch>
            <a:fillRect/>
          </a:stretch>
        </p:blipFill>
        <p:spPr>
          <a:xfrm>
            <a:off x="5486400" y="1391589"/>
            <a:ext cx="5837115" cy="5064092"/>
          </a:xfrm>
          <a:prstGeom prst="rect">
            <a:avLst/>
          </a:prstGeom>
        </p:spPr>
      </p:pic>
    </p:spTree>
    <p:extLst>
      <p:ext uri="{BB962C8B-B14F-4D97-AF65-F5344CB8AC3E}">
        <p14:creationId xmlns:p14="http://schemas.microsoft.com/office/powerpoint/2010/main" val="3027092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BC6B9F88-FAF6-43DA-B07B-703FCF951041}"/>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5">
                                            <p:graphicEl>
                                              <a:dgm id="{D80754B1-9CF4-4D89-9AA5-5DF67AA7BBE7}"/>
                                            </p:graphic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5">
                                            <p:graphicEl>
                                              <a:dgm id="{1C113716-E5D2-4A98-BB55-5DFDC3452CCB}"/>
                                            </p:graphicEl>
                                          </p:spTgt>
                                        </p:tgtEl>
                                        <p:attrNameLst>
                                          <p:attrName>style.visibility</p:attrName>
                                        </p:attrNameLst>
                                      </p:cBhvr>
                                      <p:to>
                                        <p:strVal val="visible"/>
                                      </p:to>
                                    </p:se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xit" presetSubtype="0" fill="hold" nodeType="withEffect">
                                  <p:stCondLst>
                                    <p:cond delay="0"/>
                                  </p:stCondLst>
                                  <p:childTnLst>
                                    <p:animEffect transition="out" filter="fade">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5">
                                            <p:graphicEl>
                                              <a:dgm id="{D1D44A2E-726E-4423-BEA8-1352DAAB9B52}"/>
                                            </p:graphic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
                                            <p:graphicEl>
                                              <a:dgm id="{FB840EE5-68ED-4928-9866-5C2B47380D7C}"/>
                                            </p:graphicEl>
                                          </p:spTgt>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5">
                                            <p:graphicEl>
                                              <a:dgm id="{982CFDC5-92FE-4C64-921E-CC7314346722}"/>
                                            </p:graphicEl>
                                          </p:spTgt>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5">
                                            <p:graphicEl>
                                              <a:dgm id="{0618027A-B3FA-4552-A16E-92BBC2915934}"/>
                                            </p:graphicEl>
                                          </p:spTgt>
                                        </p:tgtEl>
                                        <p:attrNameLst>
                                          <p:attrName>style.visibility</p:attrName>
                                        </p:attrNameLst>
                                      </p:cBhvr>
                                      <p:to>
                                        <p:strVal val="visible"/>
                                      </p:to>
                                    </p:set>
                                  </p:childTnLst>
                                </p:cTn>
                              </p:par>
                              <p:par>
                                <p:cTn id="40" presetID="10" presetClass="entr" presetSubtype="0" fill="hold"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par>
                                <p:cTn id="43" presetID="10" presetClass="exit" presetSubtype="0" fill="hold"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5">
                                            <p:graphicEl>
                                              <a:dgm id="{09CAE085-0AD0-4E9F-A3A1-073539319FBC}"/>
                                            </p:graphicEl>
                                          </p:spTgt>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5">
                                            <p:graphicEl>
                                              <a:dgm id="{2E0E6E5D-5867-48D4-9C6E-F19A943E0B61}"/>
                                            </p:graphicEl>
                                          </p:spTgt>
                                        </p:tgtEl>
                                        <p:attrNameLst>
                                          <p:attrName>style.visibility</p:attrName>
                                        </p:attrNameLst>
                                      </p:cBhvr>
                                      <p:to>
                                        <p:strVal val="visible"/>
                                      </p:to>
                                    </p:set>
                                  </p:childTnLst>
                                </p:cTn>
                              </p:par>
                              <p:par>
                                <p:cTn id="52" presetID="10" presetClass="entr" presetSubtype="0" fill="hold" nodeType="with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fade">
                                      <p:cBhvr>
                                        <p:cTn id="54" dur="500"/>
                                        <p:tgtEl>
                                          <p:spTgt spid="10"/>
                                        </p:tgtEl>
                                      </p:cBhvr>
                                    </p:animEffect>
                                  </p:childTnLst>
                                </p:cTn>
                              </p:par>
                              <p:par>
                                <p:cTn id="55" presetID="10" presetClass="exit" presetSubtype="0" fill="hold" nodeType="withEffect">
                                  <p:stCondLst>
                                    <p:cond delay="0"/>
                                  </p:stCondLst>
                                  <p:childTnLst>
                                    <p:animEffect transition="out" filter="fade">
                                      <p:cBhvr>
                                        <p:cTn id="56" dur="500"/>
                                        <p:tgtEl>
                                          <p:spTgt spid="9"/>
                                        </p:tgtEl>
                                      </p:cBhvr>
                                    </p:animEffect>
                                    <p:set>
                                      <p:cBhvr>
                                        <p:cTn id="5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erify your database for compatibility issues with DM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63707813"/>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002961" cy="604798"/>
          </a:xfrm>
        </p:spPr>
        <p:txBody>
          <a:bodyPr/>
          <a:lstStyle/>
          <a:p>
            <a:r>
              <a:rPr lang="en-US" dirty="0"/>
              <a:t>Lesson 3: Fix database migration compatibility issues</a:t>
            </a:r>
          </a:p>
        </p:txBody>
      </p:sp>
    </p:spTree>
    <p:extLst>
      <p:ext uri="{BB962C8B-B14F-4D97-AF65-F5344CB8AC3E}">
        <p14:creationId xmlns:p14="http://schemas.microsoft.com/office/powerpoint/2010/main" val="57495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Choose which tools you can use to fix compatibility issu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9F44D-17DB-45B8-9B96-1DC49BCD933D}"/>
              </a:ext>
            </a:extLst>
          </p:cNvPr>
          <p:cNvSpPr>
            <a:spLocks noGrp="1"/>
          </p:cNvSpPr>
          <p:nvPr>
            <p:ph type="title"/>
          </p:nvPr>
        </p:nvSpPr>
        <p:spPr/>
        <p:txBody>
          <a:bodyPr/>
          <a:lstStyle/>
          <a:p>
            <a:r>
              <a:rPr lang="en-US" dirty="0"/>
              <a:t>Fix Database Migration Compatibility Issues</a:t>
            </a:r>
          </a:p>
        </p:txBody>
      </p:sp>
      <p:graphicFrame>
        <p:nvGraphicFramePr>
          <p:cNvPr id="4" name="Diagram 3">
            <a:extLst>
              <a:ext uri="{FF2B5EF4-FFF2-40B4-BE49-F238E27FC236}">
                <a16:creationId xmlns:a16="http://schemas.microsoft.com/office/drawing/2014/main" id="{628CC096-9C15-40B3-B3B6-9F2905FC96D7}"/>
              </a:ext>
            </a:extLst>
          </p:cNvPr>
          <p:cNvGraphicFramePr/>
          <p:nvPr>
            <p:extLst>
              <p:ext uri="{D42A27DB-BD31-4B8C-83A1-F6EECF244321}">
                <p14:modId xmlns:p14="http://schemas.microsoft.com/office/powerpoint/2010/main" val="3151956754"/>
              </p:ext>
            </p:extLst>
          </p:nvPr>
        </p:nvGraphicFramePr>
        <p:xfrm>
          <a:off x="655637" y="1311459"/>
          <a:ext cx="10880724" cy="5226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9364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926762" cy="604798"/>
          </a:xfrm>
        </p:spPr>
        <p:txBody>
          <a:bodyPr/>
          <a:lstStyle/>
          <a:p>
            <a:r>
              <a:rPr lang="en-US" dirty="0"/>
              <a:t>Lesson 4: Identify the right Azure SQL Database SKU</a:t>
            </a:r>
          </a:p>
        </p:txBody>
      </p:sp>
    </p:spTree>
    <p:extLst>
      <p:ext uri="{BB962C8B-B14F-4D97-AF65-F5344CB8AC3E}">
        <p14:creationId xmlns:p14="http://schemas.microsoft.com/office/powerpoint/2010/main" val="3883825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Right size your Azure SQL Database using the current SQL Server metric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8299402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A2E7C-D12F-43F9-9DA1-A806CCE1C521}"/>
              </a:ext>
            </a:extLst>
          </p:cNvPr>
          <p:cNvSpPr>
            <a:spLocks noGrp="1"/>
          </p:cNvSpPr>
          <p:nvPr>
            <p:ph type="title"/>
          </p:nvPr>
        </p:nvSpPr>
        <p:spPr>
          <a:xfrm>
            <a:off x="655638" y="320040"/>
            <a:ext cx="10880725" cy="923330"/>
          </a:xfrm>
        </p:spPr>
        <p:txBody>
          <a:bodyPr/>
          <a:lstStyle/>
          <a:p>
            <a:r>
              <a:rPr lang="en-US" dirty="0"/>
              <a:t>Identify the right Azure SQL Database SKU for your on-premises database</a:t>
            </a:r>
          </a:p>
        </p:txBody>
      </p:sp>
      <p:graphicFrame>
        <p:nvGraphicFramePr>
          <p:cNvPr id="7" name="Content Placeholder 6">
            <a:extLst>
              <a:ext uri="{FF2B5EF4-FFF2-40B4-BE49-F238E27FC236}">
                <a16:creationId xmlns:a16="http://schemas.microsoft.com/office/drawing/2014/main" id="{E1405E2B-EFB8-4DAA-90DB-B37882A14E5C}"/>
              </a:ext>
            </a:extLst>
          </p:cNvPr>
          <p:cNvGraphicFramePr>
            <a:graphicFrameLocks noGrp="1"/>
          </p:cNvGraphicFramePr>
          <p:nvPr>
            <p:ph sz="quarter" idx="13"/>
            <p:extLst>
              <p:ext uri="{D42A27DB-BD31-4B8C-83A1-F6EECF244321}">
                <p14:modId xmlns:p14="http://schemas.microsoft.com/office/powerpoint/2010/main" val="2699132180"/>
              </p:ext>
            </p:extLst>
          </p:nvPr>
        </p:nvGraphicFramePr>
        <p:xfrm>
          <a:off x="655638" y="1408114"/>
          <a:ext cx="4830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AF50A132-6AFE-4904-9FDA-06C8CD068914}"/>
              </a:ext>
            </a:extLst>
          </p:cNvPr>
          <p:cNvPicPr>
            <a:picLocks noChangeAspect="1"/>
          </p:cNvPicPr>
          <p:nvPr/>
        </p:nvPicPr>
        <p:blipFill>
          <a:blip r:embed="rId8"/>
          <a:stretch>
            <a:fillRect/>
          </a:stretch>
        </p:blipFill>
        <p:spPr>
          <a:xfrm>
            <a:off x="5741988" y="1408114"/>
            <a:ext cx="6366660" cy="4984394"/>
          </a:xfrm>
          <a:prstGeom prst="rect">
            <a:avLst/>
          </a:prstGeom>
        </p:spPr>
      </p:pic>
    </p:spTree>
    <p:extLst>
      <p:ext uri="{BB962C8B-B14F-4D97-AF65-F5344CB8AC3E}">
        <p14:creationId xmlns:p14="http://schemas.microsoft.com/office/powerpoint/2010/main" val="29857681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A2E7C-D12F-43F9-9DA1-A806CCE1C521}"/>
              </a:ext>
            </a:extLst>
          </p:cNvPr>
          <p:cNvSpPr>
            <a:spLocks noGrp="1"/>
          </p:cNvSpPr>
          <p:nvPr>
            <p:ph type="title"/>
          </p:nvPr>
        </p:nvSpPr>
        <p:spPr>
          <a:xfrm>
            <a:off x="655638" y="320040"/>
            <a:ext cx="10880725" cy="923330"/>
          </a:xfrm>
        </p:spPr>
        <p:txBody>
          <a:bodyPr/>
          <a:lstStyle/>
          <a:p>
            <a:r>
              <a:rPr lang="en-US" dirty="0"/>
              <a:t>Identify the right Azure SQL Database SKU for your on-premises database (continued)</a:t>
            </a:r>
          </a:p>
        </p:txBody>
      </p:sp>
      <p:graphicFrame>
        <p:nvGraphicFramePr>
          <p:cNvPr id="5" name="Content Placeholder 4">
            <a:extLst>
              <a:ext uri="{FF2B5EF4-FFF2-40B4-BE49-F238E27FC236}">
                <a16:creationId xmlns:a16="http://schemas.microsoft.com/office/drawing/2014/main" id="{9E906C23-3962-48D7-8FAB-819D246220AC}"/>
              </a:ext>
            </a:extLst>
          </p:cNvPr>
          <p:cNvGraphicFramePr>
            <a:graphicFrameLocks noGrp="1"/>
          </p:cNvGraphicFramePr>
          <p:nvPr>
            <p:ph sz="quarter" idx="13"/>
            <p:extLst>
              <p:ext uri="{D42A27DB-BD31-4B8C-83A1-F6EECF244321}">
                <p14:modId xmlns:p14="http://schemas.microsoft.com/office/powerpoint/2010/main" val="1721661429"/>
              </p:ext>
            </p:extLst>
          </p:nvPr>
        </p:nvGraphicFramePr>
        <p:xfrm>
          <a:off x="655638" y="1408114"/>
          <a:ext cx="4830762" cy="2782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F59DDDF5-0B23-4B1A-89B4-01E9BB9661A2}"/>
              </a:ext>
            </a:extLst>
          </p:cNvPr>
          <p:cNvPicPr>
            <a:picLocks noChangeAspect="1"/>
          </p:cNvPicPr>
          <p:nvPr/>
        </p:nvPicPr>
        <p:blipFill>
          <a:blip r:embed="rId8"/>
          <a:stretch>
            <a:fillRect/>
          </a:stretch>
        </p:blipFill>
        <p:spPr>
          <a:xfrm>
            <a:off x="5931862" y="1408114"/>
            <a:ext cx="6116881" cy="4505563"/>
          </a:xfrm>
          <a:prstGeom prst="rect">
            <a:avLst/>
          </a:prstGeom>
        </p:spPr>
      </p:pic>
      <p:sp>
        <p:nvSpPr>
          <p:cNvPr id="6" name="TextBox 5">
            <a:extLst>
              <a:ext uri="{FF2B5EF4-FFF2-40B4-BE49-F238E27FC236}">
                <a16:creationId xmlns:a16="http://schemas.microsoft.com/office/drawing/2014/main" id="{54EB6A82-2749-4494-A50C-3C8B7EBCBB38}"/>
              </a:ext>
            </a:extLst>
          </p:cNvPr>
          <p:cNvSpPr txBox="1"/>
          <p:nvPr/>
        </p:nvSpPr>
        <p:spPr>
          <a:xfrm>
            <a:off x="655638" y="4374794"/>
            <a:ext cx="4830762" cy="1538883"/>
          </a:xfrm>
          <a:prstGeom prst="rect">
            <a:avLst/>
          </a:prstGeom>
          <a:noFill/>
        </p:spPr>
        <p:txBody>
          <a:bodyPr wrap="square" lIns="0" tIns="0" rIns="0" bIns="0" rtlCol="0">
            <a:spAutoFit/>
          </a:bodyPr>
          <a:lstStyle/>
          <a:p>
            <a:r>
              <a:rPr lang="en-US" sz="2000" dirty="0"/>
              <a:t>Furthermore, it offers the ability to bulk provision single databases and managed instances in Azure for all recommended databases.</a:t>
            </a:r>
          </a:p>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8248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37308256"/>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5: Migrate a compatible SQL Server database to Azure SQL Database</a:t>
            </a:r>
          </a:p>
        </p:txBody>
      </p:sp>
    </p:spTree>
    <p:extLst>
      <p:ext uri="{BB962C8B-B14F-4D97-AF65-F5344CB8AC3E}">
        <p14:creationId xmlns:p14="http://schemas.microsoft.com/office/powerpoint/2010/main" val="3035780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Migrate your compatible on-premises database to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4537719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24C39-08AB-425C-862A-8F64BC3621E6}"/>
              </a:ext>
            </a:extLst>
          </p:cNvPr>
          <p:cNvSpPr>
            <a:spLocks noGrp="1"/>
          </p:cNvSpPr>
          <p:nvPr>
            <p:ph type="title"/>
          </p:nvPr>
        </p:nvSpPr>
        <p:spPr>
          <a:xfrm>
            <a:off x="655638" y="320040"/>
            <a:ext cx="10880725" cy="461665"/>
          </a:xfrm>
        </p:spPr>
        <p:txBody>
          <a:bodyPr/>
          <a:lstStyle/>
          <a:p>
            <a:r>
              <a:rPr lang="en-US" dirty="0"/>
              <a:t>Migration Methods – DMA</a:t>
            </a:r>
          </a:p>
        </p:txBody>
      </p:sp>
      <p:graphicFrame>
        <p:nvGraphicFramePr>
          <p:cNvPr id="11" name="Content Placeholder 10">
            <a:extLst>
              <a:ext uri="{FF2B5EF4-FFF2-40B4-BE49-F238E27FC236}">
                <a16:creationId xmlns:a16="http://schemas.microsoft.com/office/drawing/2014/main" id="{E369D871-2F68-441B-93D9-3F005256B8F8}"/>
              </a:ext>
            </a:extLst>
          </p:cNvPr>
          <p:cNvGraphicFramePr>
            <a:graphicFrameLocks noGrp="1"/>
          </p:cNvGraphicFramePr>
          <p:nvPr>
            <p:ph sz="quarter" idx="13"/>
            <p:extLst>
              <p:ext uri="{D42A27DB-BD31-4B8C-83A1-F6EECF244321}">
                <p14:modId xmlns:p14="http://schemas.microsoft.com/office/powerpoint/2010/main" val="4142971962"/>
              </p:ext>
            </p:extLst>
          </p:nvPr>
        </p:nvGraphicFramePr>
        <p:xfrm>
          <a:off x="655638" y="1408114"/>
          <a:ext cx="42536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7D342DE6-E046-4598-AA18-0A6211002ECB}"/>
              </a:ext>
            </a:extLst>
          </p:cNvPr>
          <p:cNvPicPr>
            <a:picLocks noChangeAspect="1"/>
          </p:cNvPicPr>
          <p:nvPr/>
        </p:nvPicPr>
        <p:blipFill>
          <a:blip r:embed="rId8"/>
          <a:stretch>
            <a:fillRect/>
          </a:stretch>
        </p:blipFill>
        <p:spPr>
          <a:xfrm>
            <a:off x="6924354" y="1409490"/>
            <a:ext cx="3356934" cy="5128470"/>
          </a:xfrm>
          <a:prstGeom prst="rect">
            <a:avLst/>
          </a:prstGeom>
        </p:spPr>
      </p:pic>
      <p:pic>
        <p:nvPicPr>
          <p:cNvPr id="7" name="Picture 6">
            <a:extLst>
              <a:ext uri="{FF2B5EF4-FFF2-40B4-BE49-F238E27FC236}">
                <a16:creationId xmlns:a16="http://schemas.microsoft.com/office/drawing/2014/main" id="{6AFA6CF7-ABA0-4E76-83E6-CFB9B8D40D9E}"/>
              </a:ext>
            </a:extLst>
          </p:cNvPr>
          <p:cNvPicPr>
            <a:picLocks noChangeAspect="1"/>
          </p:cNvPicPr>
          <p:nvPr/>
        </p:nvPicPr>
        <p:blipFill>
          <a:blip r:embed="rId9"/>
          <a:stretch>
            <a:fillRect/>
          </a:stretch>
        </p:blipFill>
        <p:spPr>
          <a:xfrm>
            <a:off x="5553307" y="1406774"/>
            <a:ext cx="5703014" cy="4956061"/>
          </a:xfrm>
          <a:prstGeom prst="rect">
            <a:avLst/>
          </a:prstGeom>
        </p:spPr>
      </p:pic>
      <p:pic>
        <p:nvPicPr>
          <p:cNvPr id="8" name="Picture 7">
            <a:extLst>
              <a:ext uri="{FF2B5EF4-FFF2-40B4-BE49-F238E27FC236}">
                <a16:creationId xmlns:a16="http://schemas.microsoft.com/office/drawing/2014/main" id="{2B520E66-7605-409E-B55D-CC838C4933CF}"/>
              </a:ext>
            </a:extLst>
          </p:cNvPr>
          <p:cNvPicPr>
            <a:picLocks noChangeAspect="1"/>
          </p:cNvPicPr>
          <p:nvPr/>
        </p:nvPicPr>
        <p:blipFill>
          <a:blip r:embed="rId10"/>
          <a:stretch>
            <a:fillRect/>
          </a:stretch>
        </p:blipFill>
        <p:spPr>
          <a:xfrm>
            <a:off x="5553307" y="1406774"/>
            <a:ext cx="5245470" cy="5070226"/>
          </a:xfrm>
          <a:prstGeom prst="rect">
            <a:avLst/>
          </a:prstGeom>
        </p:spPr>
      </p:pic>
      <p:pic>
        <p:nvPicPr>
          <p:cNvPr id="5" name="Picture 4">
            <a:extLst>
              <a:ext uri="{FF2B5EF4-FFF2-40B4-BE49-F238E27FC236}">
                <a16:creationId xmlns:a16="http://schemas.microsoft.com/office/drawing/2014/main" id="{45E57432-D7B3-4B37-8CB9-48C9983A4BDD}"/>
              </a:ext>
            </a:extLst>
          </p:cNvPr>
          <p:cNvPicPr>
            <a:picLocks noChangeAspect="1"/>
          </p:cNvPicPr>
          <p:nvPr/>
        </p:nvPicPr>
        <p:blipFill>
          <a:blip r:embed="rId11"/>
          <a:stretch>
            <a:fillRect/>
          </a:stretch>
        </p:blipFill>
        <p:spPr>
          <a:xfrm>
            <a:off x="6157125" y="1406774"/>
            <a:ext cx="4495378" cy="5128470"/>
          </a:xfrm>
          <a:prstGeom prst="rect">
            <a:avLst/>
          </a:prstGeom>
        </p:spPr>
      </p:pic>
      <p:pic>
        <p:nvPicPr>
          <p:cNvPr id="9" name="Picture 8">
            <a:extLst>
              <a:ext uri="{FF2B5EF4-FFF2-40B4-BE49-F238E27FC236}">
                <a16:creationId xmlns:a16="http://schemas.microsoft.com/office/drawing/2014/main" id="{1070793D-1307-42C9-B6BE-6777076AC0CF}"/>
              </a:ext>
            </a:extLst>
          </p:cNvPr>
          <p:cNvPicPr>
            <a:picLocks noChangeAspect="1"/>
          </p:cNvPicPr>
          <p:nvPr/>
        </p:nvPicPr>
        <p:blipFill>
          <a:blip r:embed="rId12"/>
          <a:stretch>
            <a:fillRect/>
          </a:stretch>
        </p:blipFill>
        <p:spPr>
          <a:xfrm>
            <a:off x="4832072" y="1404058"/>
            <a:ext cx="6902728" cy="4361763"/>
          </a:xfrm>
          <a:prstGeom prst="rect">
            <a:avLst/>
          </a:prstGeom>
        </p:spPr>
      </p:pic>
      <p:pic>
        <p:nvPicPr>
          <p:cNvPr id="10" name="Picture 9">
            <a:extLst>
              <a:ext uri="{FF2B5EF4-FFF2-40B4-BE49-F238E27FC236}">
                <a16:creationId xmlns:a16="http://schemas.microsoft.com/office/drawing/2014/main" id="{6EA4015F-EF88-4EB1-9A19-4813DB213ABE}"/>
              </a:ext>
            </a:extLst>
          </p:cNvPr>
          <p:cNvPicPr>
            <a:picLocks noChangeAspect="1"/>
          </p:cNvPicPr>
          <p:nvPr/>
        </p:nvPicPr>
        <p:blipFill>
          <a:blip r:embed="rId13"/>
          <a:stretch>
            <a:fillRect/>
          </a:stretch>
        </p:blipFill>
        <p:spPr>
          <a:xfrm>
            <a:off x="6034876" y="1395189"/>
            <a:ext cx="4578921" cy="4511674"/>
          </a:xfrm>
          <a:prstGeom prst="rect">
            <a:avLst/>
          </a:prstGeom>
        </p:spPr>
      </p:pic>
      <p:pic>
        <p:nvPicPr>
          <p:cNvPr id="4" name="Picture 3">
            <a:extLst>
              <a:ext uri="{FF2B5EF4-FFF2-40B4-BE49-F238E27FC236}">
                <a16:creationId xmlns:a16="http://schemas.microsoft.com/office/drawing/2014/main" id="{F1FDE133-E687-4CA1-A3FA-93C82A9E386A}"/>
              </a:ext>
            </a:extLst>
          </p:cNvPr>
          <p:cNvPicPr>
            <a:picLocks noChangeAspect="1"/>
          </p:cNvPicPr>
          <p:nvPr/>
        </p:nvPicPr>
        <p:blipFill>
          <a:blip r:embed="rId14"/>
          <a:stretch>
            <a:fillRect/>
          </a:stretch>
        </p:blipFill>
        <p:spPr>
          <a:xfrm>
            <a:off x="4832072" y="1401342"/>
            <a:ext cx="6741292" cy="4259753"/>
          </a:xfrm>
          <a:prstGeom prst="rect">
            <a:avLst/>
          </a:prstGeom>
        </p:spPr>
      </p:pic>
    </p:spTree>
    <p:extLst>
      <p:ext uri="{BB962C8B-B14F-4D97-AF65-F5344CB8AC3E}">
        <p14:creationId xmlns:p14="http://schemas.microsoft.com/office/powerpoint/2010/main" val="163385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graphicEl>
                                              <a:dgm id="{70FC1599-97B3-4C93-A87C-2C1D9B13C31D}"/>
                                            </p:graphic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graphicEl>
                                              <a:dgm id="{A2E947E4-16E3-4BF5-A301-22F66F6C939B}"/>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graphicEl>
                                              <a:dgm id="{9999363D-B905-4AAB-8F1B-F9BDB3D0ADEF}"/>
                                            </p:graphic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graphicEl>
                                              <a:dgm id="{719710F7-D049-4BA0-9EAC-51373ED600E9}"/>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graphicEl>
                                              <a:dgm id="{91387524-5115-467E-9AB4-B4F0B2211861}"/>
                                            </p:graphicEl>
                                          </p:spTgt>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graphicEl>
                                              <a:dgm id="{FB4D19AC-FDFB-4BBC-87A6-E6C9BC38149D}"/>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graphicEl>
                                              <a:dgm id="{EFFA4675-13FE-41E8-AC80-BF1825BC5BF0}"/>
                                            </p:graphicEl>
                                          </p:spTgt>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8"/>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1">
                                            <p:graphicEl>
                                              <a:dgm id="{53F683D1-A395-4FD5-9A0A-77CAFC7DB973}"/>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graphicEl>
                                              <a:dgm id="{9006022D-A3E7-451C-9478-F0118D72B893}"/>
                                            </p:graphic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5"/>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1">
                                            <p:graphicEl>
                                              <a:dgm id="{0B6E9185-94CC-4FD2-8DB6-908ED2AE4E72}"/>
                                            </p:graphic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
                                            <p:graphicEl>
                                              <a:dgm id="{6E62E76E-01D8-4F08-9CB0-BB512EEB0549}"/>
                                            </p:graphic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9"/>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4"/>
                                        </p:tgtEl>
                                        <p:attrNameLst>
                                          <p:attrName>style.visibility</p:attrName>
                                        </p:attrNameLst>
                                      </p:cBhvr>
                                      <p:to>
                                        <p:strVal val="visible"/>
                                      </p:to>
                                    </p:set>
                                  </p:childTnLst>
                                </p:cTn>
                              </p:par>
                              <p:par>
                                <p:cTn id="63" presetID="1" presetClass="exit" presetSubtype="0" fill="hold" nodeType="withEffect">
                                  <p:stCondLst>
                                    <p:cond delay="0"/>
                                  </p:stCondLst>
                                  <p:childTnLst>
                                    <p:set>
                                      <p:cBhvr>
                                        <p:cTn id="64"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uiExpand="1">
        <p:bldSub>
          <a:bldDgm bld="one"/>
        </p:bldSub>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24C39-08AB-425C-862A-8F64BC3621E6}"/>
              </a:ext>
            </a:extLst>
          </p:cNvPr>
          <p:cNvSpPr>
            <a:spLocks noGrp="1"/>
          </p:cNvSpPr>
          <p:nvPr>
            <p:ph type="title"/>
          </p:nvPr>
        </p:nvSpPr>
        <p:spPr>
          <a:xfrm>
            <a:off x="655638" y="320040"/>
            <a:ext cx="10880725" cy="923330"/>
          </a:xfrm>
        </p:spPr>
        <p:txBody>
          <a:bodyPr/>
          <a:lstStyle/>
          <a:p>
            <a:r>
              <a:rPr lang="en-US" dirty="0"/>
              <a:t>Migration Methods – Export/Import with DACPAC File and BCP</a:t>
            </a:r>
          </a:p>
        </p:txBody>
      </p:sp>
      <p:graphicFrame>
        <p:nvGraphicFramePr>
          <p:cNvPr id="5" name="Content Placeholder 4">
            <a:extLst>
              <a:ext uri="{FF2B5EF4-FFF2-40B4-BE49-F238E27FC236}">
                <a16:creationId xmlns:a16="http://schemas.microsoft.com/office/drawing/2014/main" id="{B5A47BF8-1D57-44BA-817D-6167064F63CB}"/>
              </a:ext>
            </a:extLst>
          </p:cNvPr>
          <p:cNvGraphicFramePr>
            <a:graphicFrameLocks noGrp="1"/>
          </p:cNvGraphicFramePr>
          <p:nvPr>
            <p:ph sz="quarter" idx="13"/>
            <p:extLst>
              <p:ext uri="{D42A27DB-BD31-4B8C-83A1-F6EECF244321}">
                <p14:modId xmlns:p14="http://schemas.microsoft.com/office/powerpoint/2010/main" val="3896106234"/>
              </p:ext>
            </p:extLst>
          </p:nvPr>
        </p:nvGraphicFramePr>
        <p:xfrm>
          <a:off x="655638" y="1408114"/>
          <a:ext cx="5592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8F36A920-234F-4268-94BC-7C979DEB334F}"/>
              </a:ext>
            </a:extLst>
          </p:cNvPr>
          <p:cNvPicPr>
            <a:picLocks noChangeAspect="1"/>
          </p:cNvPicPr>
          <p:nvPr/>
        </p:nvPicPr>
        <p:blipFill>
          <a:blip r:embed="rId8"/>
          <a:stretch>
            <a:fillRect/>
          </a:stretch>
        </p:blipFill>
        <p:spPr>
          <a:xfrm>
            <a:off x="7010400" y="1588778"/>
            <a:ext cx="4286848" cy="4458322"/>
          </a:xfrm>
          <a:prstGeom prst="rect">
            <a:avLst/>
          </a:prstGeom>
        </p:spPr>
      </p:pic>
    </p:spTree>
    <p:extLst>
      <p:ext uri="{BB962C8B-B14F-4D97-AF65-F5344CB8AC3E}">
        <p14:creationId xmlns:p14="http://schemas.microsoft.com/office/powerpoint/2010/main" val="230553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F0D8F0A0-CAF0-41A0-B293-16D6B03412E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53760BB8-9052-47FF-926F-D7AD6CDAF182}"/>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graphicEl>
                                              <a:dgm id="{A9EC191E-A98A-498C-B659-DC218F38CA7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Dgm bld="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24C39-08AB-425C-862A-8F64BC3621E6}"/>
              </a:ext>
            </a:extLst>
          </p:cNvPr>
          <p:cNvSpPr>
            <a:spLocks noGrp="1"/>
          </p:cNvSpPr>
          <p:nvPr>
            <p:ph type="title"/>
          </p:nvPr>
        </p:nvSpPr>
        <p:spPr/>
        <p:txBody>
          <a:bodyPr/>
          <a:lstStyle/>
          <a:p>
            <a:r>
              <a:rPr lang="en-US" dirty="0"/>
              <a:t>Transactional Replication</a:t>
            </a:r>
          </a:p>
        </p:txBody>
      </p:sp>
      <p:graphicFrame>
        <p:nvGraphicFramePr>
          <p:cNvPr id="5" name="Content Placeholder 4">
            <a:extLst>
              <a:ext uri="{FF2B5EF4-FFF2-40B4-BE49-F238E27FC236}">
                <a16:creationId xmlns:a16="http://schemas.microsoft.com/office/drawing/2014/main" id="{B52D751A-FBFA-49B5-B924-0759C2A5045C}"/>
              </a:ext>
            </a:extLst>
          </p:cNvPr>
          <p:cNvGraphicFramePr>
            <a:graphicFrameLocks noGrp="1"/>
          </p:cNvGraphicFramePr>
          <p:nvPr>
            <p:ph sz="quarter" idx="13"/>
            <p:extLst>
              <p:ext uri="{D42A27DB-BD31-4B8C-83A1-F6EECF244321}">
                <p14:modId xmlns:p14="http://schemas.microsoft.com/office/powerpoint/2010/main" val="3370061444"/>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30BF761B-C287-4772-8875-174878E1A441}"/>
              </a:ext>
            </a:extLst>
          </p:cNvPr>
          <p:cNvPicPr>
            <a:picLocks noChangeAspect="1"/>
          </p:cNvPicPr>
          <p:nvPr/>
        </p:nvPicPr>
        <p:blipFill>
          <a:blip r:embed="rId8"/>
          <a:stretch>
            <a:fillRect/>
          </a:stretch>
        </p:blipFill>
        <p:spPr>
          <a:xfrm>
            <a:off x="6324600" y="877176"/>
            <a:ext cx="5440362" cy="5350588"/>
          </a:xfrm>
          <a:prstGeom prst="rect">
            <a:avLst/>
          </a:prstGeom>
        </p:spPr>
      </p:pic>
    </p:spTree>
    <p:extLst>
      <p:ext uri="{BB962C8B-B14F-4D97-AF65-F5344CB8AC3E}">
        <p14:creationId xmlns:p14="http://schemas.microsoft.com/office/powerpoint/2010/main" val="1677999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CCDE7131-F13D-488C-A8B5-205593C06D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E878039B-14AF-4619-9585-7B247E17D310}"/>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F019A285-E246-4A68-86E2-60A5AEBB41F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708DA041-84E3-4367-943E-D3CB957C080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1DD8228F-B3DA-4E33-8314-73AAC251CFF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24C39-08AB-425C-862A-8F64BC3621E6}"/>
              </a:ext>
            </a:extLst>
          </p:cNvPr>
          <p:cNvSpPr>
            <a:spLocks noGrp="1"/>
          </p:cNvSpPr>
          <p:nvPr>
            <p:ph type="title"/>
          </p:nvPr>
        </p:nvSpPr>
        <p:spPr>
          <a:xfrm>
            <a:off x="655638" y="320040"/>
            <a:ext cx="10880725" cy="461665"/>
          </a:xfrm>
        </p:spPr>
        <p:txBody>
          <a:bodyPr/>
          <a:lstStyle/>
          <a:p>
            <a:r>
              <a:rPr lang="en-US" dirty="0"/>
              <a:t>Migration Methods – Data Migration Service</a:t>
            </a:r>
          </a:p>
        </p:txBody>
      </p:sp>
      <p:graphicFrame>
        <p:nvGraphicFramePr>
          <p:cNvPr id="4" name="Object 3">
            <a:extLst>
              <a:ext uri="{FF2B5EF4-FFF2-40B4-BE49-F238E27FC236}">
                <a16:creationId xmlns:a16="http://schemas.microsoft.com/office/drawing/2014/main" id="{4922C437-E1DC-482C-8EBD-05F55BFB06F5}"/>
              </a:ext>
            </a:extLst>
          </p:cNvPr>
          <p:cNvGraphicFramePr>
            <a:graphicFrameLocks noChangeAspect="1"/>
          </p:cNvGraphicFramePr>
          <p:nvPr>
            <p:extLst>
              <p:ext uri="{D42A27DB-BD31-4B8C-83A1-F6EECF244321}">
                <p14:modId xmlns:p14="http://schemas.microsoft.com/office/powerpoint/2010/main" val="366013196"/>
              </p:ext>
            </p:extLst>
          </p:nvPr>
        </p:nvGraphicFramePr>
        <p:xfrm>
          <a:off x="655636" y="1617631"/>
          <a:ext cx="2428880" cy="1811369"/>
        </p:xfrm>
        <a:graphic>
          <a:graphicData uri="http://schemas.openxmlformats.org/presentationml/2006/ole">
            <mc:AlternateContent xmlns:mc="http://schemas.openxmlformats.org/markup-compatibility/2006">
              <mc:Choice xmlns:v="urn:schemas-microsoft-com:vml" Requires="v">
                <p:oleObj spid="_x0000_s1032" name="CorelDRAW" r:id="rId4" imgW="578520" imgH="430920" progId="">
                  <p:embed/>
                </p:oleObj>
              </mc:Choice>
              <mc:Fallback>
                <p:oleObj name="CorelDRAW" r:id="rId4" imgW="578520" imgH="430920" progId="">
                  <p:embed/>
                  <p:pic>
                    <p:nvPicPr>
                      <p:cNvPr id="4" name="Object 3">
                        <a:extLst>
                          <a:ext uri="{FF2B5EF4-FFF2-40B4-BE49-F238E27FC236}">
                            <a16:creationId xmlns:a16="http://schemas.microsoft.com/office/drawing/2014/main" id="{4922C437-E1DC-482C-8EBD-05F55BFB06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636" y="1617631"/>
                        <a:ext cx="2428880" cy="18113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4">
            <a:extLst>
              <a:ext uri="{FF2B5EF4-FFF2-40B4-BE49-F238E27FC236}">
                <a16:creationId xmlns:a16="http://schemas.microsoft.com/office/drawing/2014/main" id="{24726EEC-5DC4-4E31-9863-A7D8E168FACC}"/>
              </a:ext>
            </a:extLst>
          </p:cNvPr>
          <p:cNvGraphicFramePr>
            <a:graphicFrameLocks noChangeAspect="1"/>
          </p:cNvGraphicFramePr>
          <p:nvPr>
            <p:extLst>
              <p:ext uri="{D42A27DB-BD31-4B8C-83A1-F6EECF244321}">
                <p14:modId xmlns:p14="http://schemas.microsoft.com/office/powerpoint/2010/main" val="2043156971"/>
              </p:ext>
            </p:extLst>
          </p:nvPr>
        </p:nvGraphicFramePr>
        <p:xfrm>
          <a:off x="774769" y="4714641"/>
          <a:ext cx="1155038" cy="1502152"/>
        </p:xfrm>
        <a:graphic>
          <a:graphicData uri="http://schemas.openxmlformats.org/presentationml/2006/ole">
            <mc:AlternateContent xmlns:mc="http://schemas.openxmlformats.org/markup-compatibility/2006">
              <mc:Choice xmlns:v="urn:schemas-microsoft-com:vml" Requires="v">
                <p:oleObj spid="_x0000_s1033" name="CorelDRAW" r:id="rId6" imgW="270000" imgH="351000" progId="">
                  <p:embed/>
                </p:oleObj>
              </mc:Choice>
              <mc:Fallback>
                <p:oleObj name="CorelDRAW" r:id="rId6" imgW="270000" imgH="351000" progId="">
                  <p:embed/>
                  <p:pic>
                    <p:nvPicPr>
                      <p:cNvPr id="5" name="Object 4">
                        <a:extLst>
                          <a:ext uri="{FF2B5EF4-FFF2-40B4-BE49-F238E27FC236}">
                            <a16:creationId xmlns:a16="http://schemas.microsoft.com/office/drawing/2014/main" id="{24726EEC-5DC4-4E31-9863-A7D8E168FA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769" y="4714641"/>
                        <a:ext cx="1155038" cy="15021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a:extLst>
              <a:ext uri="{FF2B5EF4-FFF2-40B4-BE49-F238E27FC236}">
                <a16:creationId xmlns:a16="http://schemas.microsoft.com/office/drawing/2014/main" id="{F62824EA-A2D7-47FE-8744-BFD4AB55015B}"/>
              </a:ext>
            </a:extLst>
          </p:cNvPr>
          <p:cNvGraphicFramePr>
            <a:graphicFrameLocks noChangeAspect="1"/>
          </p:cNvGraphicFramePr>
          <p:nvPr>
            <p:extLst>
              <p:ext uri="{D42A27DB-BD31-4B8C-83A1-F6EECF244321}">
                <p14:modId xmlns:p14="http://schemas.microsoft.com/office/powerpoint/2010/main" val="746172391"/>
              </p:ext>
            </p:extLst>
          </p:nvPr>
        </p:nvGraphicFramePr>
        <p:xfrm>
          <a:off x="2061161" y="4714641"/>
          <a:ext cx="1155038" cy="1502152"/>
        </p:xfrm>
        <a:graphic>
          <a:graphicData uri="http://schemas.openxmlformats.org/presentationml/2006/ole">
            <mc:AlternateContent xmlns:mc="http://schemas.openxmlformats.org/markup-compatibility/2006">
              <mc:Choice xmlns:v="urn:schemas-microsoft-com:vml" Requires="v">
                <p:oleObj spid="_x0000_s1034" name="CorelDRAW" r:id="rId8" imgW="270000" imgH="351000" progId="">
                  <p:embed/>
                </p:oleObj>
              </mc:Choice>
              <mc:Fallback>
                <p:oleObj name="CorelDRAW" r:id="rId8" imgW="270000" imgH="351000" progId="">
                  <p:embed/>
                  <p:pic>
                    <p:nvPicPr>
                      <p:cNvPr id="6" name="Object 5">
                        <a:extLst>
                          <a:ext uri="{FF2B5EF4-FFF2-40B4-BE49-F238E27FC236}">
                            <a16:creationId xmlns:a16="http://schemas.microsoft.com/office/drawing/2014/main" id="{F62824EA-A2D7-47FE-8744-BFD4AB55015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61161" y="4714641"/>
                        <a:ext cx="1155038" cy="15021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Straight Arrow Connector 6">
            <a:extLst>
              <a:ext uri="{FF2B5EF4-FFF2-40B4-BE49-F238E27FC236}">
                <a16:creationId xmlns:a16="http://schemas.microsoft.com/office/drawing/2014/main" id="{80C137D1-9397-43CE-9FB1-D6C97341876C}"/>
              </a:ext>
            </a:extLst>
          </p:cNvPr>
          <p:cNvCxnSpPr>
            <a:cxnSpLocks/>
          </p:cNvCxnSpPr>
          <p:nvPr/>
        </p:nvCxnSpPr>
        <p:spPr>
          <a:xfrm flipV="1">
            <a:off x="1352288" y="3192793"/>
            <a:ext cx="0" cy="1811369"/>
          </a:xfrm>
          <a:prstGeom prst="straightConnector1">
            <a:avLst/>
          </a:prstGeom>
          <a:noFill/>
          <a:ln w="76200" cap="flat" cmpd="sng" algn="ctr">
            <a:solidFill>
              <a:srgbClr val="DC5900"/>
            </a:solidFill>
            <a:prstDash val="sysDot"/>
            <a:tailEnd type="triangle"/>
          </a:ln>
          <a:effectLst/>
        </p:spPr>
      </p:cxnSp>
      <p:cxnSp>
        <p:nvCxnSpPr>
          <p:cNvPr id="8" name="Straight Arrow Connector 7">
            <a:extLst>
              <a:ext uri="{FF2B5EF4-FFF2-40B4-BE49-F238E27FC236}">
                <a16:creationId xmlns:a16="http://schemas.microsoft.com/office/drawing/2014/main" id="{7C0C5469-0D19-41B9-B89E-457234897CAE}"/>
              </a:ext>
            </a:extLst>
          </p:cNvPr>
          <p:cNvCxnSpPr>
            <a:cxnSpLocks/>
          </p:cNvCxnSpPr>
          <p:nvPr/>
        </p:nvCxnSpPr>
        <p:spPr>
          <a:xfrm flipV="1">
            <a:off x="2638678" y="3192793"/>
            <a:ext cx="0" cy="1811369"/>
          </a:xfrm>
          <a:prstGeom prst="straightConnector1">
            <a:avLst/>
          </a:prstGeom>
          <a:noFill/>
          <a:ln w="76200" cap="flat" cmpd="sng" algn="ctr">
            <a:solidFill>
              <a:srgbClr val="7EB900"/>
            </a:solidFill>
            <a:prstDash val="sysDot"/>
            <a:tailEnd type="triangle"/>
          </a:ln>
          <a:effectLst/>
        </p:spPr>
      </p:cxnSp>
      <p:graphicFrame>
        <p:nvGraphicFramePr>
          <p:cNvPr id="9" name="Diagram 8">
            <a:extLst>
              <a:ext uri="{FF2B5EF4-FFF2-40B4-BE49-F238E27FC236}">
                <a16:creationId xmlns:a16="http://schemas.microsoft.com/office/drawing/2014/main" id="{7E715B14-9A09-483D-81C8-CF015F65785C}"/>
              </a:ext>
            </a:extLst>
          </p:cNvPr>
          <p:cNvGraphicFramePr/>
          <p:nvPr>
            <p:extLst>
              <p:ext uri="{D42A27DB-BD31-4B8C-83A1-F6EECF244321}">
                <p14:modId xmlns:p14="http://schemas.microsoft.com/office/powerpoint/2010/main" val="2234859075"/>
              </p:ext>
            </p:extLst>
          </p:nvPr>
        </p:nvGraphicFramePr>
        <p:xfrm>
          <a:off x="3687903" y="1409210"/>
          <a:ext cx="7740216" cy="480758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646150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y</p:attrName>
                                        </p:attrNameLst>
                                      </p:cBhvr>
                                      <p:tavLst>
                                        <p:tav tm="0">
                                          <p:val>
                                            <p:strVal val="#ppt_y+#ppt_h*1.125000"/>
                                          </p:val>
                                        </p:tav>
                                        <p:tav tm="100000">
                                          <p:val>
                                            <p:strVal val="#ppt_y"/>
                                          </p:val>
                                        </p:tav>
                                      </p:tavLst>
                                    </p:anim>
                                    <p:animEffect transition="in" filter="wipe(up)">
                                      <p:cBhvr>
                                        <p:cTn id="8" dur="500"/>
                                        <p:tgtEl>
                                          <p:spTgt spid="5"/>
                                        </p:tgtEl>
                                      </p:cBhvr>
                                    </p:animEffect>
                                  </p:childTnLst>
                                </p:cTn>
                              </p:par>
                              <p:par>
                                <p:cTn id="9" presetID="12" presetClass="entr" presetSubtype="4" fill="hold"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p:tgtEl>
                                          <p:spTgt spid="6"/>
                                        </p:tgtEl>
                                        <p:attrNameLst>
                                          <p:attrName>ppt_y</p:attrName>
                                        </p:attrNameLst>
                                      </p:cBhvr>
                                      <p:tavLst>
                                        <p:tav tm="0">
                                          <p:val>
                                            <p:strVal val="#ppt_y+#ppt_h*1.125000"/>
                                          </p:val>
                                        </p:tav>
                                        <p:tav tm="100000">
                                          <p:val>
                                            <p:strVal val="#ppt_y"/>
                                          </p:val>
                                        </p:tav>
                                      </p:tavLst>
                                    </p:anim>
                                    <p:animEffect transition="in" filter="wipe(up)">
                                      <p:cBhvr>
                                        <p:cTn id="12" dur="500"/>
                                        <p:tgtEl>
                                          <p:spTgt spid="6"/>
                                        </p:tgtEl>
                                      </p:cBhvr>
                                    </p:animEffect>
                                  </p:childTnLst>
                                </p:cTn>
                              </p:par>
                              <p:par>
                                <p:cTn id="13" presetID="22" presetClass="entr" presetSubtype="4" fill="hold" nodeType="withEffect">
                                  <p:stCondLst>
                                    <p:cond delay="30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par>
                                <p:cTn id="16" presetID="22" presetClass="entr" presetSubtype="4" fill="hold" nodeType="withEffect">
                                  <p:stCondLst>
                                    <p:cond delay="40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500"/>
                                        <p:tgtEl>
                                          <p:spTgt spid="8"/>
                                        </p:tgtEl>
                                      </p:cBhvr>
                                    </p:animEffect>
                                  </p:childTnLst>
                                </p:cTn>
                              </p:par>
                              <p:par>
                                <p:cTn id="19" presetID="22" presetClass="entr" presetSubtype="4" fill="hold" nodeType="withEffect">
                                  <p:stCondLst>
                                    <p:cond delay="600"/>
                                  </p:stCondLst>
                                  <p:childTnLst>
                                    <p:set>
                                      <p:cBhvr>
                                        <p:cTn id="20" dur="1" fill="hold">
                                          <p:stCondLst>
                                            <p:cond delay="0"/>
                                          </p:stCondLst>
                                        </p:cTn>
                                        <p:tgtEl>
                                          <p:spTgt spid="4"/>
                                        </p:tgtEl>
                                        <p:attrNameLst>
                                          <p:attrName>style.visibility</p:attrName>
                                        </p:attrNameLst>
                                      </p:cBhvr>
                                      <p:to>
                                        <p:strVal val="visible"/>
                                      </p:to>
                                    </p:set>
                                    <p:animEffect transition="in" filter="wipe(down)">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
                                            <p:graphicEl>
                                              <a:dgm id="{BC7DF1A0-2B41-443A-AE97-E9180797AE24}"/>
                                            </p:graphic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9">
                                            <p:graphicEl>
                                              <a:dgm id="{B7C36EA6-D9E3-45F9-8637-47089DAFD325}"/>
                                            </p:graphicEl>
                                          </p:spTgt>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graphicEl>
                                              <a:dgm id="{6E14BE17-FCA9-497E-B634-8A72F61231DF}"/>
                                            </p:graphic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9">
                                            <p:graphicEl>
                                              <a:dgm id="{E7CEE042-9318-4C10-B3C5-1D212D9E7A70}"/>
                                            </p:graphicEl>
                                          </p:spTgt>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9">
                                            <p:graphicEl>
                                              <a:dgm id="{6A332BA2-0453-41BB-92A7-0966B4FC8B03}"/>
                                            </p:graphic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9">
                                            <p:graphicEl>
                                              <a:dgm id="{A9E5FCF8-350D-4C13-9968-CE044B94D044}"/>
                                            </p:graphicEl>
                                          </p:spTgt>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9">
                                            <p:graphicEl>
                                              <a:dgm id="{F61C2FE0-A9C3-4A78-81B4-7392360A48B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24C39-08AB-425C-862A-8F64BC3621E6}"/>
              </a:ext>
            </a:extLst>
          </p:cNvPr>
          <p:cNvSpPr>
            <a:spLocks noGrp="1"/>
          </p:cNvSpPr>
          <p:nvPr>
            <p:ph type="title"/>
          </p:nvPr>
        </p:nvSpPr>
        <p:spPr>
          <a:xfrm>
            <a:off x="655638" y="320040"/>
            <a:ext cx="10880725" cy="461665"/>
          </a:xfrm>
        </p:spPr>
        <p:txBody>
          <a:bodyPr/>
          <a:lstStyle/>
          <a:p>
            <a:r>
              <a:rPr lang="en-US" dirty="0"/>
              <a:t>Migration Methods – DMS</a:t>
            </a:r>
          </a:p>
        </p:txBody>
      </p:sp>
      <p:graphicFrame>
        <p:nvGraphicFramePr>
          <p:cNvPr id="10" name="Content Placeholder 9">
            <a:extLst>
              <a:ext uri="{FF2B5EF4-FFF2-40B4-BE49-F238E27FC236}">
                <a16:creationId xmlns:a16="http://schemas.microsoft.com/office/drawing/2014/main" id="{EC580770-C52E-45A0-A9C5-9F336FE787AF}"/>
              </a:ext>
            </a:extLst>
          </p:cNvPr>
          <p:cNvGraphicFramePr>
            <a:graphicFrameLocks noGrp="1"/>
          </p:cNvGraphicFramePr>
          <p:nvPr>
            <p:ph sz="quarter" idx="13"/>
            <p:extLst>
              <p:ext uri="{D42A27DB-BD31-4B8C-83A1-F6EECF244321}">
                <p14:modId xmlns:p14="http://schemas.microsoft.com/office/powerpoint/2010/main" val="1735928866"/>
              </p:ext>
            </p:extLst>
          </p:nvPr>
        </p:nvGraphicFramePr>
        <p:xfrm>
          <a:off x="655638" y="1408114"/>
          <a:ext cx="400487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A screenshot of a computer&#10;&#10;Description generated with very high confidence">
            <a:extLst>
              <a:ext uri="{FF2B5EF4-FFF2-40B4-BE49-F238E27FC236}">
                <a16:creationId xmlns:a16="http://schemas.microsoft.com/office/drawing/2014/main" id="{33E200EB-2307-43C8-B991-BB329091C960}"/>
              </a:ext>
            </a:extLst>
          </p:cNvPr>
          <p:cNvPicPr>
            <a:picLocks noChangeAspect="1"/>
          </p:cNvPicPr>
          <p:nvPr/>
        </p:nvPicPr>
        <p:blipFill>
          <a:blip r:embed="rId8"/>
          <a:stretch>
            <a:fillRect/>
          </a:stretch>
        </p:blipFill>
        <p:spPr>
          <a:xfrm>
            <a:off x="5476904" y="1514673"/>
            <a:ext cx="6430252" cy="4154932"/>
          </a:xfrm>
          <a:prstGeom prst="rect">
            <a:avLst/>
          </a:prstGeom>
        </p:spPr>
      </p:pic>
      <p:pic>
        <p:nvPicPr>
          <p:cNvPr id="5" name="Picture 4" descr="A screenshot of a cell phone&#10;&#10;Description generated with very high confidence">
            <a:extLst>
              <a:ext uri="{FF2B5EF4-FFF2-40B4-BE49-F238E27FC236}">
                <a16:creationId xmlns:a16="http://schemas.microsoft.com/office/drawing/2014/main" id="{4E2FA29A-E36F-4106-A146-8FD967CEC2A7}"/>
              </a:ext>
            </a:extLst>
          </p:cNvPr>
          <p:cNvPicPr>
            <a:picLocks noChangeAspect="1"/>
          </p:cNvPicPr>
          <p:nvPr/>
        </p:nvPicPr>
        <p:blipFill>
          <a:blip r:embed="rId9"/>
          <a:stretch>
            <a:fillRect/>
          </a:stretch>
        </p:blipFill>
        <p:spPr>
          <a:xfrm>
            <a:off x="8160426" y="780676"/>
            <a:ext cx="1948958" cy="5622925"/>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3C0CCDDE-E49D-465F-ABA7-4048A3FAB84E}"/>
              </a:ext>
            </a:extLst>
          </p:cNvPr>
          <p:cNvPicPr>
            <a:picLocks noChangeAspect="1"/>
          </p:cNvPicPr>
          <p:nvPr/>
        </p:nvPicPr>
        <p:blipFill>
          <a:blip r:embed="rId10"/>
          <a:stretch>
            <a:fillRect/>
          </a:stretch>
        </p:blipFill>
        <p:spPr>
          <a:xfrm>
            <a:off x="5585425" y="2179050"/>
            <a:ext cx="6213210" cy="3136192"/>
          </a:xfrm>
          <a:prstGeom prst="rect">
            <a:avLst/>
          </a:prstGeom>
        </p:spPr>
      </p:pic>
      <p:pic>
        <p:nvPicPr>
          <p:cNvPr id="7" name="Picture 6" descr="A screenshot of a social media post&#10;&#10;Description generated with very high confidence">
            <a:extLst>
              <a:ext uri="{FF2B5EF4-FFF2-40B4-BE49-F238E27FC236}">
                <a16:creationId xmlns:a16="http://schemas.microsoft.com/office/drawing/2014/main" id="{8862A85F-61FF-47C0-B055-9914A71DAE6F}"/>
              </a:ext>
            </a:extLst>
          </p:cNvPr>
          <p:cNvPicPr>
            <a:picLocks noChangeAspect="1"/>
          </p:cNvPicPr>
          <p:nvPr/>
        </p:nvPicPr>
        <p:blipFill>
          <a:blip r:embed="rId11"/>
          <a:stretch>
            <a:fillRect/>
          </a:stretch>
        </p:blipFill>
        <p:spPr>
          <a:xfrm>
            <a:off x="5562600" y="1571542"/>
            <a:ext cx="6258860" cy="4574518"/>
          </a:xfrm>
          <a:prstGeom prst="rect">
            <a:avLst/>
          </a:prstGeom>
        </p:spPr>
      </p:pic>
      <p:pic>
        <p:nvPicPr>
          <p:cNvPr id="8" name="Picture 7" descr="A screenshot of a social media post&#10;&#10;Description generated with very high confidence">
            <a:extLst>
              <a:ext uri="{FF2B5EF4-FFF2-40B4-BE49-F238E27FC236}">
                <a16:creationId xmlns:a16="http://schemas.microsoft.com/office/drawing/2014/main" id="{48148FA6-CCDA-4151-A99F-A565117954AA}"/>
              </a:ext>
            </a:extLst>
          </p:cNvPr>
          <p:cNvPicPr>
            <a:picLocks noChangeAspect="1"/>
          </p:cNvPicPr>
          <p:nvPr/>
        </p:nvPicPr>
        <p:blipFill>
          <a:blip r:embed="rId12"/>
          <a:stretch>
            <a:fillRect/>
          </a:stretch>
        </p:blipFill>
        <p:spPr>
          <a:xfrm>
            <a:off x="8060278" y="417107"/>
            <a:ext cx="2149253" cy="615895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BFE061AB-88DC-4E13-970E-216701F0253A}"/>
              </a:ext>
            </a:extLst>
          </p:cNvPr>
          <p:cNvPicPr>
            <a:picLocks noChangeAspect="1"/>
          </p:cNvPicPr>
          <p:nvPr/>
        </p:nvPicPr>
        <p:blipFill>
          <a:blip r:embed="rId13"/>
          <a:stretch>
            <a:fillRect/>
          </a:stretch>
        </p:blipFill>
        <p:spPr>
          <a:xfrm>
            <a:off x="7280909" y="723111"/>
            <a:ext cx="4004877" cy="5738053"/>
          </a:xfrm>
          <a:prstGeom prst="rect">
            <a:avLst/>
          </a:prstGeom>
        </p:spPr>
      </p:pic>
    </p:spTree>
    <p:extLst>
      <p:ext uri="{BB962C8B-B14F-4D97-AF65-F5344CB8AC3E}">
        <p14:creationId xmlns:p14="http://schemas.microsoft.com/office/powerpoint/2010/main" val="2413882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graphicEl>
                                              <a:dgm id="{19705F92-91BF-4494-884A-AAD4956A53A1}"/>
                                            </p:graphic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graphicEl>
                                              <a:dgm id="{B04F5AE9-19ED-4530-840A-2DB594A7CB76}"/>
                                            </p:graphic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4"/>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graphicEl>
                                              <a:dgm id="{5FFCAB49-3603-4B10-B011-BD1BB1F5D1AD}"/>
                                            </p:graphic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5"/>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graphicEl>
                                              <a:dgm id="{61A5D2A2-F5C0-425E-BF4D-5E5771882232}"/>
                                            </p:graphic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xit" presetSubtype="0" fill="hold" nodeType="withEffect">
                                  <p:stCondLst>
                                    <p:cond delay="0"/>
                                  </p:stCondLst>
                                  <p:childTnLst>
                                    <p:set>
                                      <p:cBhvr>
                                        <p:cTn id="32" dur="1" fill="hold">
                                          <p:stCondLst>
                                            <p:cond delay="0"/>
                                          </p:stCondLst>
                                        </p:cTn>
                                        <p:tgtEl>
                                          <p:spTgt spid="6"/>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graphicEl>
                                              <a:dgm id="{FE3EA1E7-E90A-4216-A84D-F96FF169D6B1}"/>
                                            </p:graphic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
                                            <p:graphicEl>
                                              <a:dgm id="{6CB37123-AE97-4D02-AA99-30E74B8F71F6}"/>
                                            </p:graphic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Dgm bld="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878637" cy="5597525"/>
          </a:xfrm>
        </p:spPr>
        <p:txBody>
          <a:bodyPr/>
          <a:lstStyle/>
          <a:p>
            <a:r>
              <a:rPr lang="en-US" dirty="0"/>
              <a:t>Lesson 1: Steps to migrate your database to Azure SQL Database</a:t>
            </a:r>
          </a:p>
          <a:p>
            <a:r>
              <a:rPr lang="en-US" dirty="0"/>
              <a:t>Lesson 2: Is your database ready to move to Azure SQL database?</a:t>
            </a:r>
          </a:p>
          <a:p>
            <a:r>
              <a:rPr lang="it-IT" dirty="0"/>
              <a:t>Lesson 3: </a:t>
            </a:r>
            <a:r>
              <a:rPr lang="en-US" dirty="0"/>
              <a:t>Fix database migration compatibility issues</a:t>
            </a:r>
            <a:endParaRPr lang="it-IT" dirty="0"/>
          </a:p>
          <a:p>
            <a:r>
              <a:rPr lang="en-US" dirty="0"/>
              <a:t>Lesson 4: Identify the right Azure SQL Database SKU</a:t>
            </a:r>
          </a:p>
          <a:p>
            <a:r>
              <a:rPr lang="en-US" dirty="0"/>
              <a:t>Lesson 5: Migrate a compatible SQL Server database to Azure SQL Databas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Migration Methods – DMS (continued)</a:t>
            </a:r>
          </a:p>
        </p:txBody>
      </p:sp>
      <p:graphicFrame>
        <p:nvGraphicFramePr>
          <p:cNvPr id="10" name="Content Placeholder 9">
            <a:extLst>
              <a:ext uri="{FF2B5EF4-FFF2-40B4-BE49-F238E27FC236}">
                <a16:creationId xmlns:a16="http://schemas.microsoft.com/office/drawing/2014/main" id="{57975C16-59A4-41E6-A7F0-BAFC8A4ABDE7}"/>
              </a:ext>
            </a:extLst>
          </p:cNvPr>
          <p:cNvGraphicFramePr>
            <a:graphicFrameLocks noGrp="1"/>
          </p:cNvGraphicFramePr>
          <p:nvPr>
            <p:ph sz="quarter" idx="13"/>
            <p:extLst>
              <p:ext uri="{D42A27DB-BD31-4B8C-83A1-F6EECF244321}">
                <p14:modId xmlns:p14="http://schemas.microsoft.com/office/powerpoint/2010/main" val="3696311721"/>
              </p:ext>
            </p:extLst>
          </p:nvPr>
        </p:nvGraphicFramePr>
        <p:xfrm>
          <a:off x="655638" y="1408114"/>
          <a:ext cx="4221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A screenshot of a cell phone&#10;&#10;Description generated with very high confidence">
            <a:extLst>
              <a:ext uri="{FF2B5EF4-FFF2-40B4-BE49-F238E27FC236}">
                <a16:creationId xmlns:a16="http://schemas.microsoft.com/office/drawing/2014/main" id="{FC7D396D-1383-4A9C-B3F0-CE1F09D45C04}"/>
              </a:ext>
            </a:extLst>
          </p:cNvPr>
          <p:cNvPicPr>
            <a:picLocks noChangeAspect="1"/>
          </p:cNvPicPr>
          <p:nvPr/>
        </p:nvPicPr>
        <p:blipFill>
          <a:blip r:embed="rId8"/>
          <a:stretch>
            <a:fillRect/>
          </a:stretch>
        </p:blipFill>
        <p:spPr>
          <a:xfrm>
            <a:off x="6422179" y="1305514"/>
            <a:ext cx="3876319" cy="5554663"/>
          </a:xfrm>
          <a:prstGeom prst="rect">
            <a:avLst/>
          </a:prstGeom>
        </p:spPr>
      </p:pic>
      <p:pic>
        <p:nvPicPr>
          <p:cNvPr id="6" name="Picture 5" descr="A screenshot of a computer&#10;&#10;Description generated with very high confidence">
            <a:extLst>
              <a:ext uri="{FF2B5EF4-FFF2-40B4-BE49-F238E27FC236}">
                <a16:creationId xmlns:a16="http://schemas.microsoft.com/office/drawing/2014/main" id="{1DCDE5F2-355F-44EE-A899-C1FBF67FD132}"/>
              </a:ext>
            </a:extLst>
          </p:cNvPr>
          <p:cNvPicPr>
            <a:picLocks noChangeAspect="1"/>
          </p:cNvPicPr>
          <p:nvPr/>
        </p:nvPicPr>
        <p:blipFill>
          <a:blip r:embed="rId9"/>
          <a:stretch>
            <a:fillRect/>
          </a:stretch>
        </p:blipFill>
        <p:spPr>
          <a:xfrm>
            <a:off x="5036974" y="1629318"/>
            <a:ext cx="6389228" cy="4907054"/>
          </a:xfrm>
          <a:prstGeom prst="rect">
            <a:avLst/>
          </a:prstGeom>
        </p:spPr>
      </p:pic>
      <p:pic>
        <p:nvPicPr>
          <p:cNvPr id="7" name="Picture 6" descr="A screenshot of a computer&#10;&#10;Description generated with very high confidence">
            <a:extLst>
              <a:ext uri="{FF2B5EF4-FFF2-40B4-BE49-F238E27FC236}">
                <a16:creationId xmlns:a16="http://schemas.microsoft.com/office/drawing/2014/main" id="{5EA30AF7-B3FA-42B0-AE54-5F845456C084}"/>
              </a:ext>
            </a:extLst>
          </p:cNvPr>
          <p:cNvPicPr>
            <a:picLocks noChangeAspect="1"/>
          </p:cNvPicPr>
          <p:nvPr/>
        </p:nvPicPr>
        <p:blipFill>
          <a:blip r:embed="rId10"/>
          <a:stretch>
            <a:fillRect/>
          </a:stretch>
        </p:blipFill>
        <p:spPr>
          <a:xfrm>
            <a:off x="5502944" y="1086864"/>
            <a:ext cx="6022532" cy="5756377"/>
          </a:xfrm>
          <a:prstGeom prst="rect">
            <a:avLst/>
          </a:prstGeom>
        </p:spPr>
      </p:pic>
      <p:pic>
        <p:nvPicPr>
          <p:cNvPr id="8" name="Picture 7" descr="A screenshot of a cell phone&#10;&#10;Description generated with very high confidence">
            <a:extLst>
              <a:ext uri="{FF2B5EF4-FFF2-40B4-BE49-F238E27FC236}">
                <a16:creationId xmlns:a16="http://schemas.microsoft.com/office/drawing/2014/main" id="{537583A3-CE3E-43D1-85AC-E5BA95B8DE93}"/>
              </a:ext>
            </a:extLst>
          </p:cNvPr>
          <p:cNvPicPr>
            <a:picLocks noChangeAspect="1"/>
          </p:cNvPicPr>
          <p:nvPr/>
        </p:nvPicPr>
        <p:blipFill>
          <a:blip r:embed="rId11"/>
          <a:stretch>
            <a:fillRect/>
          </a:stretch>
        </p:blipFill>
        <p:spPr>
          <a:xfrm>
            <a:off x="5860761" y="2147646"/>
            <a:ext cx="4999153" cy="314733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7F5E3E18-8959-4E50-AB21-5088DB27693F}"/>
              </a:ext>
            </a:extLst>
          </p:cNvPr>
          <p:cNvPicPr>
            <a:picLocks noChangeAspect="1"/>
          </p:cNvPicPr>
          <p:nvPr/>
        </p:nvPicPr>
        <p:blipFill>
          <a:blip r:embed="rId12"/>
          <a:stretch>
            <a:fillRect/>
          </a:stretch>
        </p:blipFill>
        <p:spPr>
          <a:xfrm>
            <a:off x="5860761" y="2090899"/>
            <a:ext cx="4999153" cy="3254022"/>
          </a:xfrm>
          <a:prstGeom prst="rect">
            <a:avLst/>
          </a:prstGeom>
        </p:spPr>
      </p:pic>
    </p:spTree>
    <p:extLst>
      <p:ext uri="{BB962C8B-B14F-4D97-AF65-F5344CB8AC3E}">
        <p14:creationId xmlns:p14="http://schemas.microsoft.com/office/powerpoint/2010/main" val="3959608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graphicEl>
                                              <a:dgm id="{069C8D03-83FC-4539-91EB-4AE42DB376C5}"/>
                                            </p:graphic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graphicEl>
                                              <a:dgm id="{DA6AE445-2F2A-46E1-977C-E19450801CB0}"/>
                                            </p:graphic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5"/>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graphicEl>
                                              <a:dgm id="{6DEA7C7C-19D1-4F31-B284-3316986224E6}"/>
                                            </p:graphic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6"/>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graphicEl>
                                              <a:dgm id="{5D747A15-8A24-4FBF-87CD-CE99984A4233}"/>
                                            </p:graphic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xit" presetSubtype="0" fill="hold" nodeType="withEffect">
                                  <p:stCondLst>
                                    <p:cond delay="0"/>
                                  </p:stCondLst>
                                  <p:childTnLst>
                                    <p:set>
                                      <p:cBhvr>
                                        <p:cTn id="32" dur="1" fill="hold">
                                          <p:stCondLst>
                                            <p:cond delay="0"/>
                                          </p:stCondLst>
                                        </p:cTn>
                                        <p:tgtEl>
                                          <p:spTgt spid="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graphicEl>
                                              <a:dgm id="{C6120FE1-ADBB-4F2A-B708-6BBE0CF5E70F}"/>
                                            </p:graphic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Dgm bld="one"/>
        </p:bldSub>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Optimizing data transfer performance during migration</a:t>
            </a:r>
          </a:p>
        </p:txBody>
      </p:sp>
      <p:graphicFrame>
        <p:nvGraphicFramePr>
          <p:cNvPr id="5" name="Diagram 4">
            <a:extLst>
              <a:ext uri="{FF2B5EF4-FFF2-40B4-BE49-F238E27FC236}">
                <a16:creationId xmlns:a16="http://schemas.microsoft.com/office/drawing/2014/main" id="{C7B83044-65FE-4554-B867-6306C484CFB7}"/>
              </a:ext>
            </a:extLst>
          </p:cNvPr>
          <p:cNvGraphicFramePr/>
          <p:nvPr>
            <p:extLst>
              <p:ext uri="{D42A27DB-BD31-4B8C-83A1-F6EECF244321}">
                <p14:modId xmlns:p14="http://schemas.microsoft.com/office/powerpoint/2010/main" val="701410678"/>
              </p:ext>
            </p:extLst>
          </p:nvPr>
        </p:nvGraphicFramePr>
        <p:xfrm>
          <a:off x="655637" y="1519215"/>
          <a:ext cx="10880726" cy="47085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1294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1AA69857-ACEC-4468-9B78-17D0B148BA24}"/>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29C0DA39-E4D9-4367-8569-836E982F2783}"/>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graphicEl>
                                              <a:dgm id="{C50A4D61-6858-4E35-B899-E0718499CD03}"/>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AF578D8A-58D4-4CF4-9210-E09999647115}"/>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graphicEl>
                                              <a:dgm id="{E133CFC2-9CBC-4C82-B77F-0D24DFB5BB26}"/>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graphicEl>
                                              <a:dgm id="{8BEC6F4E-62E8-40D3-BBEA-E6E7856506ED}"/>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graphicEl>
                                              <a:dgm id="{9D56C505-B065-4C8F-B356-36FEDA400909}"/>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68A712B5-7A9D-4BC8-A768-AD1C45F2202F}"/>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graphicEl>
                                              <a:dgm id="{5892F4C2-2AD0-47EA-9BDD-093A92D2AD57}"/>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graphicEl>
                                              <a:dgm id="{B0D07764-F9C5-43E8-B28E-3E72D725A643}"/>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CF463F72-D41C-4CCE-90EF-2EE8D043501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Migration Methods – DMA</a:t>
            </a:r>
          </a:p>
          <a:p>
            <a:pPr marL="571500" lvl="1" indent="-342900">
              <a:buFont typeface="Arial" panose="020B0604020202020204" pitchFamily="34" charset="0"/>
              <a:buChar char="•"/>
            </a:pPr>
            <a:r>
              <a:rPr lang="en-US" dirty="0"/>
              <a:t>Migrate your on-premises database with DMA.</a:t>
            </a:r>
          </a:p>
          <a:p>
            <a:pPr marL="571500" lvl="1" indent="-342900">
              <a:buFont typeface="Arial" panose="020B0604020202020204" pitchFamily="34" charset="0"/>
              <a:buChar char="•"/>
            </a:pPr>
            <a:r>
              <a:rPr lang="en-US" dirty="0"/>
              <a:t>Migrate your on-premises database with DMS Hybrid mod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40110792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igrate a Compatible SQL Server Database to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637" y="3429000"/>
            <a:ext cx="4352925" cy="2643188"/>
          </a:xfrm>
        </p:spPr>
        <p:txBody>
          <a:bodyPr/>
          <a:lstStyle/>
          <a:p>
            <a:pPr marL="342900" indent="-342900">
              <a:buFont typeface="Arial" panose="020B0604020202020204" pitchFamily="34" charset="0"/>
              <a:buChar char="•"/>
            </a:pPr>
            <a:r>
              <a:rPr lang="en-US" sz="1800" b="1" dirty="0"/>
              <a:t>Exercise 1: </a:t>
            </a:r>
            <a:r>
              <a:rPr lang="en-US" sz="1800" dirty="0"/>
              <a:t>Analyze your SQL Server Database for compatibility issues</a:t>
            </a:r>
          </a:p>
          <a:p>
            <a:pPr marL="342900" indent="-342900">
              <a:buFont typeface="Arial" panose="020B0604020202020204" pitchFamily="34" charset="0"/>
              <a:buChar char="•"/>
            </a:pPr>
            <a:r>
              <a:rPr lang="en-US" sz="1800" b="1" dirty="0"/>
              <a:t>Exercise 2: </a:t>
            </a:r>
            <a:r>
              <a:rPr lang="en-US" sz="1800" dirty="0"/>
              <a:t>Fix database migration compatibility issues</a:t>
            </a:r>
          </a:p>
          <a:p>
            <a:pPr marL="342900" indent="-342900">
              <a:buFont typeface="Arial" panose="020B0604020202020204" pitchFamily="34" charset="0"/>
              <a:buChar char="•"/>
            </a:pPr>
            <a:r>
              <a:rPr lang="en-US" sz="1800" b="1" dirty="0"/>
              <a:t>Exercise 3: </a:t>
            </a:r>
            <a:r>
              <a:rPr lang="en-US" sz="1800" dirty="0"/>
              <a:t>Migrate a database to Azure with Data Migration Assistant</a:t>
            </a:r>
          </a:p>
          <a:p>
            <a:pPr marL="342900" indent="-342900">
              <a:buFont typeface="Arial" panose="020B0604020202020204" pitchFamily="34" charset="0"/>
              <a:buChar char="•"/>
            </a:pPr>
            <a:r>
              <a:rPr lang="en-US" sz="1800" b="1" dirty="0"/>
              <a:t>Exercise 4: </a:t>
            </a:r>
            <a:r>
              <a:rPr lang="en-US" sz="1800" dirty="0"/>
              <a:t>Migrate a database to Azure with SSMS</a:t>
            </a:r>
          </a:p>
          <a:p>
            <a:pPr marL="342900" indent="-342900">
              <a:buFont typeface="Arial" panose="020B0604020202020204" pitchFamily="34" charset="0"/>
              <a:buChar char="•"/>
            </a:pPr>
            <a:r>
              <a:rPr lang="en-US" sz="1800" b="1" dirty="0"/>
              <a:t>Exercise 5: </a:t>
            </a:r>
            <a:r>
              <a:rPr lang="en-US" sz="1800" dirty="0"/>
              <a:t>Migrate a database to Azure with Transactional Replication</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30604392"/>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951948364"/>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062998470"/>
              </p:ext>
            </p:extLst>
          </p:nvPr>
        </p:nvGraphicFramePr>
        <p:xfrm>
          <a:off x="655638" y="1408113"/>
          <a:ext cx="10880725" cy="2782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02184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D78D5B8C-516B-4BCF-A5AF-224A2ACCF1A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8945562" cy="604798"/>
          </a:xfrm>
        </p:spPr>
        <p:txBody>
          <a:bodyPr/>
          <a:lstStyle/>
          <a:p>
            <a:r>
              <a:rPr lang="en-US" dirty="0"/>
              <a:t>Lesson 6:  Sync data across multiple cloud and on-premises databases</a:t>
            </a:r>
          </a:p>
        </p:txBody>
      </p:sp>
    </p:spTree>
    <p:extLst>
      <p:ext uri="{BB962C8B-B14F-4D97-AF65-F5344CB8AC3E}">
        <p14:creationId xmlns:p14="http://schemas.microsoft.com/office/powerpoint/2010/main" val="20518831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what SQL Data Sync is.</a:t>
            </a:r>
          </a:p>
          <a:p>
            <a:r>
              <a:rPr lang="en-US" dirty="0"/>
              <a:t>Describe when you should use it.</a:t>
            </a:r>
          </a:p>
          <a:p>
            <a:r>
              <a:rPr lang="en-US" dirty="0"/>
              <a:t>Explain how Data Sync Work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34268549"/>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What is SQL Data Sync?</a:t>
            </a:r>
          </a:p>
        </p:txBody>
      </p:sp>
      <p:graphicFrame>
        <p:nvGraphicFramePr>
          <p:cNvPr id="4" name="Content Placeholder 3">
            <a:extLst>
              <a:ext uri="{FF2B5EF4-FFF2-40B4-BE49-F238E27FC236}">
                <a16:creationId xmlns:a16="http://schemas.microsoft.com/office/drawing/2014/main" id="{A7B3A0E2-F1A9-4ACB-9F34-FC7188B06049}"/>
              </a:ext>
            </a:extLst>
          </p:cNvPr>
          <p:cNvGraphicFramePr>
            <a:graphicFrameLocks noGrp="1"/>
          </p:cNvGraphicFramePr>
          <p:nvPr>
            <p:ph sz="quarter" idx="13"/>
            <p:extLst>
              <p:ext uri="{D42A27DB-BD31-4B8C-83A1-F6EECF244321}">
                <p14:modId xmlns:p14="http://schemas.microsoft.com/office/powerpoint/2010/main" val="395738708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179630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a:xfrm>
            <a:off x="655638" y="320040"/>
            <a:ext cx="10880725" cy="461666"/>
          </a:xfrm>
        </p:spPr>
        <p:txBody>
          <a:bodyPr/>
          <a:lstStyle/>
          <a:p>
            <a:r>
              <a:rPr lang="en-US" dirty="0"/>
              <a:t>What is SQL Data Sync</a:t>
            </a:r>
          </a:p>
        </p:txBody>
      </p:sp>
      <p:sp>
        <p:nvSpPr>
          <p:cNvPr id="4" name="Oval 3">
            <a:extLst>
              <a:ext uri="{FF2B5EF4-FFF2-40B4-BE49-F238E27FC236}">
                <a16:creationId xmlns:a16="http://schemas.microsoft.com/office/drawing/2014/main" id="{1A7D3F9F-0FEC-432E-B7BC-11186CC34CCD}"/>
              </a:ext>
            </a:extLst>
          </p:cNvPr>
          <p:cNvSpPr/>
          <p:nvPr/>
        </p:nvSpPr>
        <p:spPr bwMode="auto">
          <a:xfrm>
            <a:off x="655636" y="1408114"/>
            <a:ext cx="10497392" cy="4819649"/>
          </a:xfrm>
          <a:prstGeom prst="ellipse">
            <a:avLst/>
          </a:prstGeom>
          <a:no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94279AE6-875A-4D8E-81BF-5AC1C7493379}"/>
              </a:ext>
            </a:extLst>
          </p:cNvPr>
          <p:cNvSpPr txBox="1"/>
          <p:nvPr/>
        </p:nvSpPr>
        <p:spPr>
          <a:xfrm>
            <a:off x="7250744" y="1050689"/>
            <a:ext cx="2061783" cy="572464"/>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nl-BE" sz="2000" b="0" i="0" u="none" strike="noStrike" kern="0" cap="none" spc="0" normalizeH="0" baseline="0" noProof="0" dirty="0">
                <a:ln>
                  <a:noFill/>
                </a:ln>
                <a:gradFill>
                  <a:gsLst>
                    <a:gs pos="2917">
                      <a:srgbClr val="505050"/>
                    </a:gs>
                    <a:gs pos="30000">
                      <a:srgbClr val="505050"/>
                    </a:gs>
                  </a:gsLst>
                  <a:lin ang="5400000" scaled="0"/>
                </a:gradFill>
                <a:effectLst/>
                <a:uLnTx/>
                <a:uFillTx/>
              </a:rPr>
              <a:t>Sync Group</a:t>
            </a:r>
          </a:p>
        </p:txBody>
      </p:sp>
      <p:sp>
        <p:nvSpPr>
          <p:cNvPr id="6" name="Cylinder 5">
            <a:extLst>
              <a:ext uri="{FF2B5EF4-FFF2-40B4-BE49-F238E27FC236}">
                <a16:creationId xmlns:a16="http://schemas.microsoft.com/office/drawing/2014/main" id="{CBEB717F-1044-4241-A6DC-E2553652336E}"/>
              </a:ext>
            </a:extLst>
          </p:cNvPr>
          <p:cNvSpPr/>
          <p:nvPr/>
        </p:nvSpPr>
        <p:spPr bwMode="auto">
          <a:xfrm>
            <a:off x="7801893" y="3454959"/>
            <a:ext cx="1673402"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Prem)</a:t>
            </a:r>
          </a:p>
        </p:txBody>
      </p:sp>
      <p:sp>
        <p:nvSpPr>
          <p:cNvPr id="7" name="Oval 6">
            <a:extLst>
              <a:ext uri="{FF2B5EF4-FFF2-40B4-BE49-F238E27FC236}">
                <a16:creationId xmlns:a16="http://schemas.microsoft.com/office/drawing/2014/main" id="{B736C794-87A3-4F44-83F9-D363F3940488}"/>
              </a:ext>
            </a:extLst>
          </p:cNvPr>
          <p:cNvSpPr/>
          <p:nvPr/>
        </p:nvSpPr>
        <p:spPr bwMode="auto">
          <a:xfrm>
            <a:off x="8717048" y="4848941"/>
            <a:ext cx="1245894" cy="728114"/>
          </a:xfrm>
          <a:prstGeom prst="ellipse">
            <a:avLst/>
          </a:prstGeom>
          <a:solidFill>
            <a:srgbClr val="5C2D91"/>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Agent</a:t>
            </a:r>
          </a:p>
        </p:txBody>
      </p:sp>
      <p:sp>
        <p:nvSpPr>
          <p:cNvPr id="8" name="Cylinder 7">
            <a:extLst>
              <a:ext uri="{FF2B5EF4-FFF2-40B4-BE49-F238E27FC236}">
                <a16:creationId xmlns:a16="http://schemas.microsoft.com/office/drawing/2014/main" id="{78FF0195-A11D-45F1-9CD5-02F0AE22D1F0}"/>
              </a:ext>
            </a:extLst>
          </p:cNvPr>
          <p:cNvSpPr/>
          <p:nvPr/>
        </p:nvSpPr>
        <p:spPr bwMode="auto">
          <a:xfrm>
            <a:off x="5110660" y="4492851"/>
            <a:ext cx="1746788"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VM)</a:t>
            </a:r>
          </a:p>
        </p:txBody>
      </p:sp>
      <p:grpSp>
        <p:nvGrpSpPr>
          <p:cNvPr id="9" name="Group 8">
            <a:extLst>
              <a:ext uri="{FF2B5EF4-FFF2-40B4-BE49-F238E27FC236}">
                <a16:creationId xmlns:a16="http://schemas.microsoft.com/office/drawing/2014/main" id="{BFD5E544-0754-4D89-95BD-90750FC7D1FB}"/>
              </a:ext>
            </a:extLst>
          </p:cNvPr>
          <p:cNvGrpSpPr/>
          <p:nvPr/>
        </p:nvGrpSpPr>
        <p:grpSpPr>
          <a:xfrm>
            <a:off x="5139818" y="1752184"/>
            <a:ext cx="1332864" cy="1391092"/>
            <a:chOff x="5438568" y="1544066"/>
            <a:chExt cx="1451181" cy="1698472"/>
          </a:xfrm>
        </p:grpSpPr>
        <p:sp>
          <p:nvSpPr>
            <p:cNvPr id="10" name="Cylinder 9">
              <a:extLst>
                <a:ext uri="{FF2B5EF4-FFF2-40B4-BE49-F238E27FC236}">
                  <a16:creationId xmlns:a16="http://schemas.microsoft.com/office/drawing/2014/main" id="{79D061EB-7BFB-476F-B2A5-19B4A7302EE9}"/>
                </a:ext>
              </a:extLst>
            </p:cNvPr>
            <p:cNvSpPr/>
            <p:nvPr/>
          </p:nvSpPr>
          <p:spPr bwMode="auto">
            <a:xfrm>
              <a:off x="5438568" y="1544066"/>
              <a:ext cx="1451181" cy="1698472"/>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ub DB</a:t>
              </a:r>
            </a:p>
          </p:txBody>
        </p:sp>
        <p:pic>
          <p:nvPicPr>
            <p:cNvPr id="11" name="Picture 10" descr="A close up of a logo&#10;&#10;Description automatically generated">
              <a:extLst>
                <a:ext uri="{FF2B5EF4-FFF2-40B4-BE49-F238E27FC236}">
                  <a16:creationId xmlns:a16="http://schemas.microsoft.com/office/drawing/2014/main" id="{DCFC094C-333A-4B08-901A-9959D0729F56}"/>
                </a:ext>
              </a:extLst>
            </p:cNvPr>
            <p:cNvPicPr>
              <a:picLocks noChangeAspect="1"/>
            </p:cNvPicPr>
            <p:nvPr/>
          </p:nvPicPr>
          <p:blipFill>
            <a:blip r:embed="rId3"/>
            <a:stretch>
              <a:fillRect/>
            </a:stretch>
          </p:blipFill>
          <p:spPr>
            <a:xfrm>
              <a:off x="5438568" y="2628182"/>
              <a:ext cx="580718" cy="580718"/>
            </a:xfrm>
            <a:prstGeom prst="rect">
              <a:avLst/>
            </a:prstGeom>
          </p:spPr>
        </p:pic>
      </p:grpSp>
      <p:grpSp>
        <p:nvGrpSpPr>
          <p:cNvPr id="12" name="Group 11">
            <a:extLst>
              <a:ext uri="{FF2B5EF4-FFF2-40B4-BE49-F238E27FC236}">
                <a16:creationId xmlns:a16="http://schemas.microsoft.com/office/drawing/2014/main" id="{F6EDEE11-41AB-4717-AEFA-B6C82E469A68}"/>
              </a:ext>
            </a:extLst>
          </p:cNvPr>
          <p:cNvGrpSpPr/>
          <p:nvPr/>
        </p:nvGrpSpPr>
        <p:grpSpPr>
          <a:xfrm>
            <a:off x="1848723" y="3429000"/>
            <a:ext cx="1673401" cy="1603150"/>
            <a:chOff x="2447785" y="3590215"/>
            <a:chExt cx="1821948" cy="1957388"/>
          </a:xfrm>
        </p:grpSpPr>
        <p:sp>
          <p:nvSpPr>
            <p:cNvPr id="13" name="Cylinder 12">
              <a:extLst>
                <a:ext uri="{FF2B5EF4-FFF2-40B4-BE49-F238E27FC236}">
                  <a16:creationId xmlns:a16="http://schemas.microsoft.com/office/drawing/2014/main" id="{C2487B43-4F64-40C2-AB4A-E35EF49FECAF}"/>
                </a:ext>
              </a:extLst>
            </p:cNvPr>
            <p:cNvSpPr/>
            <p:nvPr/>
          </p:nvSpPr>
          <p:spPr bwMode="auto">
            <a:xfrm>
              <a:off x="2447785" y="3590215"/>
              <a:ext cx="1821948" cy="1957388"/>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pic>
          <p:nvPicPr>
            <p:cNvPr id="14" name="Picture 13" descr="A close up of a logo&#10;&#10;Description automatically generated">
              <a:extLst>
                <a:ext uri="{FF2B5EF4-FFF2-40B4-BE49-F238E27FC236}">
                  <a16:creationId xmlns:a16="http://schemas.microsoft.com/office/drawing/2014/main" id="{207C9564-3AEB-4160-881D-DEABD11C3307}"/>
                </a:ext>
              </a:extLst>
            </p:cNvPr>
            <p:cNvPicPr>
              <a:picLocks noChangeAspect="1"/>
            </p:cNvPicPr>
            <p:nvPr/>
          </p:nvPicPr>
          <p:blipFill>
            <a:blip r:embed="rId3"/>
            <a:stretch>
              <a:fillRect/>
            </a:stretch>
          </p:blipFill>
          <p:spPr>
            <a:xfrm>
              <a:off x="2452385" y="4907705"/>
              <a:ext cx="580718" cy="580718"/>
            </a:xfrm>
            <a:prstGeom prst="rect">
              <a:avLst/>
            </a:prstGeom>
          </p:spPr>
        </p:pic>
      </p:grpSp>
      <p:sp>
        <p:nvSpPr>
          <p:cNvPr id="15" name="Rectangle 14">
            <a:extLst>
              <a:ext uri="{FF2B5EF4-FFF2-40B4-BE49-F238E27FC236}">
                <a16:creationId xmlns:a16="http://schemas.microsoft.com/office/drawing/2014/main" id="{F00C691A-083C-457C-A78E-4D64391EC60B}"/>
              </a:ext>
            </a:extLst>
          </p:cNvPr>
          <p:cNvSpPr/>
          <p:nvPr/>
        </p:nvSpPr>
        <p:spPr bwMode="auto">
          <a:xfrm>
            <a:off x="4781304" y="1653291"/>
            <a:ext cx="3537977" cy="15240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8BC6B51-3516-4080-B30B-3CA91CC06583}"/>
              </a:ext>
            </a:extLst>
          </p:cNvPr>
          <p:cNvGrpSpPr/>
          <p:nvPr/>
        </p:nvGrpSpPr>
        <p:grpSpPr>
          <a:xfrm>
            <a:off x="6966994" y="1628431"/>
            <a:ext cx="1083079" cy="1071620"/>
            <a:chOff x="7748938" y="1714348"/>
            <a:chExt cx="1179223" cy="1308407"/>
          </a:xfrm>
        </p:grpSpPr>
        <p:sp>
          <p:nvSpPr>
            <p:cNvPr id="18" name="Cylinder 17">
              <a:extLst>
                <a:ext uri="{FF2B5EF4-FFF2-40B4-BE49-F238E27FC236}">
                  <a16:creationId xmlns:a16="http://schemas.microsoft.com/office/drawing/2014/main" id="{5C1D0F9F-060C-49E2-B0F6-5F04A2A0EBF0}"/>
                </a:ext>
              </a:extLst>
            </p:cNvPr>
            <p:cNvSpPr/>
            <p:nvPr/>
          </p:nvSpPr>
          <p:spPr bwMode="auto">
            <a:xfrm>
              <a:off x="7754529" y="1714348"/>
              <a:ext cx="1173632" cy="1308407"/>
            </a:xfrm>
            <a:prstGeom prst="can">
              <a:avLst/>
            </a:prstGeom>
            <a:solidFill>
              <a:srgbClr val="0078D7">
                <a:lumMod val="40000"/>
                <a:lumOff val="60000"/>
              </a:srgbClr>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B</a:t>
              </a:r>
            </a:p>
          </p:txBody>
        </p:sp>
        <p:pic>
          <p:nvPicPr>
            <p:cNvPr id="19" name="Picture 18" descr="A close up of a logo&#10;&#10;Description automatically generated">
              <a:extLst>
                <a:ext uri="{FF2B5EF4-FFF2-40B4-BE49-F238E27FC236}">
                  <a16:creationId xmlns:a16="http://schemas.microsoft.com/office/drawing/2014/main" id="{A8CF24B7-4D99-43DA-9371-4C3AC2E84C57}"/>
                </a:ext>
              </a:extLst>
            </p:cNvPr>
            <p:cNvPicPr>
              <a:picLocks noChangeAspect="1"/>
            </p:cNvPicPr>
            <p:nvPr/>
          </p:nvPicPr>
          <p:blipFill>
            <a:blip r:embed="rId3"/>
            <a:stretch>
              <a:fillRect/>
            </a:stretch>
          </p:blipFill>
          <p:spPr>
            <a:xfrm>
              <a:off x="7748938" y="2521099"/>
              <a:ext cx="482365" cy="482365"/>
            </a:xfrm>
            <a:prstGeom prst="rect">
              <a:avLst/>
            </a:prstGeom>
          </p:spPr>
        </p:pic>
      </p:grpSp>
    </p:spTree>
    <p:extLst>
      <p:ext uri="{BB962C8B-B14F-4D97-AF65-F5344CB8AC3E}">
        <p14:creationId xmlns:p14="http://schemas.microsoft.com/office/powerpoint/2010/main" val="68233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8564562" cy="604798"/>
          </a:xfrm>
        </p:spPr>
        <p:txBody>
          <a:bodyPr/>
          <a:lstStyle/>
          <a:p>
            <a:r>
              <a:rPr lang="en-US" dirty="0"/>
              <a:t>Lesson 1: Steps to migrate your database to Azure SQL Database</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a:xfrm>
            <a:off x="655638" y="320040"/>
            <a:ext cx="10880725" cy="461666"/>
          </a:xfrm>
        </p:spPr>
        <p:txBody>
          <a:bodyPr/>
          <a:lstStyle/>
          <a:p>
            <a:r>
              <a:rPr lang="en-US" dirty="0"/>
              <a:t>What is SQL Data Sync</a:t>
            </a:r>
          </a:p>
        </p:txBody>
      </p:sp>
      <p:sp>
        <p:nvSpPr>
          <p:cNvPr id="4" name="Oval 3">
            <a:extLst>
              <a:ext uri="{FF2B5EF4-FFF2-40B4-BE49-F238E27FC236}">
                <a16:creationId xmlns:a16="http://schemas.microsoft.com/office/drawing/2014/main" id="{1A7D3F9F-0FEC-432E-B7BC-11186CC34CCD}"/>
              </a:ext>
            </a:extLst>
          </p:cNvPr>
          <p:cNvSpPr/>
          <p:nvPr/>
        </p:nvSpPr>
        <p:spPr bwMode="auto">
          <a:xfrm>
            <a:off x="655636" y="1408114"/>
            <a:ext cx="10497392" cy="4819649"/>
          </a:xfrm>
          <a:prstGeom prst="ellipse">
            <a:avLst/>
          </a:prstGeom>
          <a:no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94279AE6-875A-4D8E-81BF-5AC1C7493379}"/>
              </a:ext>
            </a:extLst>
          </p:cNvPr>
          <p:cNvSpPr txBox="1"/>
          <p:nvPr/>
        </p:nvSpPr>
        <p:spPr>
          <a:xfrm>
            <a:off x="7250744" y="1050689"/>
            <a:ext cx="2061783" cy="572464"/>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nl-BE" sz="2000" b="0" i="0" u="none" strike="noStrike" kern="0" cap="none" spc="0" normalizeH="0" baseline="0" noProof="0" dirty="0">
                <a:ln>
                  <a:noFill/>
                </a:ln>
                <a:gradFill>
                  <a:gsLst>
                    <a:gs pos="2917">
                      <a:srgbClr val="505050"/>
                    </a:gs>
                    <a:gs pos="30000">
                      <a:srgbClr val="505050"/>
                    </a:gs>
                  </a:gsLst>
                  <a:lin ang="5400000" scaled="0"/>
                </a:gradFill>
                <a:effectLst/>
                <a:uLnTx/>
                <a:uFillTx/>
              </a:rPr>
              <a:t>Sync Group</a:t>
            </a:r>
          </a:p>
        </p:txBody>
      </p:sp>
      <p:sp>
        <p:nvSpPr>
          <p:cNvPr id="6" name="Cylinder 5">
            <a:extLst>
              <a:ext uri="{FF2B5EF4-FFF2-40B4-BE49-F238E27FC236}">
                <a16:creationId xmlns:a16="http://schemas.microsoft.com/office/drawing/2014/main" id="{CBEB717F-1044-4241-A6DC-E2553652336E}"/>
              </a:ext>
            </a:extLst>
          </p:cNvPr>
          <p:cNvSpPr/>
          <p:nvPr/>
        </p:nvSpPr>
        <p:spPr bwMode="auto">
          <a:xfrm>
            <a:off x="7801893" y="3454959"/>
            <a:ext cx="1673402"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Prem)</a:t>
            </a:r>
          </a:p>
        </p:txBody>
      </p:sp>
      <p:sp>
        <p:nvSpPr>
          <p:cNvPr id="7" name="Oval 6">
            <a:extLst>
              <a:ext uri="{FF2B5EF4-FFF2-40B4-BE49-F238E27FC236}">
                <a16:creationId xmlns:a16="http://schemas.microsoft.com/office/drawing/2014/main" id="{B736C794-87A3-4F44-83F9-D363F3940488}"/>
              </a:ext>
            </a:extLst>
          </p:cNvPr>
          <p:cNvSpPr/>
          <p:nvPr/>
        </p:nvSpPr>
        <p:spPr bwMode="auto">
          <a:xfrm>
            <a:off x="8717048" y="4848941"/>
            <a:ext cx="1245894" cy="728114"/>
          </a:xfrm>
          <a:prstGeom prst="ellipse">
            <a:avLst/>
          </a:prstGeom>
          <a:solidFill>
            <a:srgbClr val="5C2D91"/>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Agent</a:t>
            </a:r>
          </a:p>
        </p:txBody>
      </p:sp>
      <p:sp>
        <p:nvSpPr>
          <p:cNvPr id="8" name="Cylinder 7">
            <a:extLst>
              <a:ext uri="{FF2B5EF4-FFF2-40B4-BE49-F238E27FC236}">
                <a16:creationId xmlns:a16="http://schemas.microsoft.com/office/drawing/2014/main" id="{78FF0195-A11D-45F1-9CD5-02F0AE22D1F0}"/>
              </a:ext>
            </a:extLst>
          </p:cNvPr>
          <p:cNvSpPr/>
          <p:nvPr/>
        </p:nvSpPr>
        <p:spPr bwMode="auto">
          <a:xfrm>
            <a:off x="5110660" y="4492851"/>
            <a:ext cx="1746788"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VM)</a:t>
            </a:r>
          </a:p>
        </p:txBody>
      </p:sp>
      <p:grpSp>
        <p:nvGrpSpPr>
          <p:cNvPr id="9" name="Group 8">
            <a:extLst>
              <a:ext uri="{FF2B5EF4-FFF2-40B4-BE49-F238E27FC236}">
                <a16:creationId xmlns:a16="http://schemas.microsoft.com/office/drawing/2014/main" id="{BFD5E544-0754-4D89-95BD-90750FC7D1FB}"/>
              </a:ext>
            </a:extLst>
          </p:cNvPr>
          <p:cNvGrpSpPr/>
          <p:nvPr/>
        </p:nvGrpSpPr>
        <p:grpSpPr>
          <a:xfrm>
            <a:off x="5139818" y="1752184"/>
            <a:ext cx="1332864" cy="1391092"/>
            <a:chOff x="5438568" y="1544066"/>
            <a:chExt cx="1451181" cy="1698472"/>
          </a:xfrm>
        </p:grpSpPr>
        <p:sp>
          <p:nvSpPr>
            <p:cNvPr id="10" name="Cylinder 9">
              <a:extLst>
                <a:ext uri="{FF2B5EF4-FFF2-40B4-BE49-F238E27FC236}">
                  <a16:creationId xmlns:a16="http://schemas.microsoft.com/office/drawing/2014/main" id="{79D061EB-7BFB-476F-B2A5-19B4A7302EE9}"/>
                </a:ext>
              </a:extLst>
            </p:cNvPr>
            <p:cNvSpPr/>
            <p:nvPr/>
          </p:nvSpPr>
          <p:spPr bwMode="auto">
            <a:xfrm>
              <a:off x="5438568" y="1544066"/>
              <a:ext cx="1451181" cy="1698472"/>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ub DB</a:t>
              </a:r>
            </a:p>
          </p:txBody>
        </p:sp>
        <p:pic>
          <p:nvPicPr>
            <p:cNvPr id="11" name="Picture 10" descr="A close up of a logo&#10;&#10;Description automatically generated">
              <a:extLst>
                <a:ext uri="{FF2B5EF4-FFF2-40B4-BE49-F238E27FC236}">
                  <a16:creationId xmlns:a16="http://schemas.microsoft.com/office/drawing/2014/main" id="{DCFC094C-333A-4B08-901A-9959D0729F56}"/>
                </a:ext>
              </a:extLst>
            </p:cNvPr>
            <p:cNvPicPr>
              <a:picLocks noChangeAspect="1"/>
            </p:cNvPicPr>
            <p:nvPr/>
          </p:nvPicPr>
          <p:blipFill>
            <a:blip r:embed="rId3"/>
            <a:stretch>
              <a:fillRect/>
            </a:stretch>
          </p:blipFill>
          <p:spPr>
            <a:xfrm>
              <a:off x="5438568" y="2628182"/>
              <a:ext cx="580718" cy="580718"/>
            </a:xfrm>
            <a:prstGeom prst="rect">
              <a:avLst/>
            </a:prstGeom>
          </p:spPr>
        </p:pic>
      </p:grpSp>
      <p:grpSp>
        <p:nvGrpSpPr>
          <p:cNvPr id="12" name="Group 11">
            <a:extLst>
              <a:ext uri="{FF2B5EF4-FFF2-40B4-BE49-F238E27FC236}">
                <a16:creationId xmlns:a16="http://schemas.microsoft.com/office/drawing/2014/main" id="{F6EDEE11-41AB-4717-AEFA-B6C82E469A68}"/>
              </a:ext>
            </a:extLst>
          </p:cNvPr>
          <p:cNvGrpSpPr/>
          <p:nvPr/>
        </p:nvGrpSpPr>
        <p:grpSpPr>
          <a:xfrm>
            <a:off x="1848723" y="3429000"/>
            <a:ext cx="1673401" cy="1603150"/>
            <a:chOff x="2447785" y="3590215"/>
            <a:chExt cx="1821948" cy="1957388"/>
          </a:xfrm>
        </p:grpSpPr>
        <p:sp>
          <p:nvSpPr>
            <p:cNvPr id="13" name="Cylinder 12">
              <a:extLst>
                <a:ext uri="{FF2B5EF4-FFF2-40B4-BE49-F238E27FC236}">
                  <a16:creationId xmlns:a16="http://schemas.microsoft.com/office/drawing/2014/main" id="{C2487B43-4F64-40C2-AB4A-E35EF49FECAF}"/>
                </a:ext>
              </a:extLst>
            </p:cNvPr>
            <p:cNvSpPr/>
            <p:nvPr/>
          </p:nvSpPr>
          <p:spPr bwMode="auto">
            <a:xfrm>
              <a:off x="2447785" y="3590215"/>
              <a:ext cx="1821948" cy="1957388"/>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pic>
          <p:nvPicPr>
            <p:cNvPr id="14" name="Picture 13" descr="A close up of a logo&#10;&#10;Description automatically generated">
              <a:extLst>
                <a:ext uri="{FF2B5EF4-FFF2-40B4-BE49-F238E27FC236}">
                  <a16:creationId xmlns:a16="http://schemas.microsoft.com/office/drawing/2014/main" id="{207C9564-3AEB-4160-881D-DEABD11C3307}"/>
                </a:ext>
              </a:extLst>
            </p:cNvPr>
            <p:cNvPicPr>
              <a:picLocks noChangeAspect="1"/>
            </p:cNvPicPr>
            <p:nvPr/>
          </p:nvPicPr>
          <p:blipFill>
            <a:blip r:embed="rId3"/>
            <a:stretch>
              <a:fillRect/>
            </a:stretch>
          </p:blipFill>
          <p:spPr>
            <a:xfrm>
              <a:off x="2452385" y="4907705"/>
              <a:ext cx="580718" cy="580718"/>
            </a:xfrm>
            <a:prstGeom prst="rect">
              <a:avLst/>
            </a:prstGeom>
          </p:spPr>
        </p:pic>
      </p:grpSp>
      <p:sp>
        <p:nvSpPr>
          <p:cNvPr id="15" name="Rectangle 14">
            <a:extLst>
              <a:ext uri="{FF2B5EF4-FFF2-40B4-BE49-F238E27FC236}">
                <a16:creationId xmlns:a16="http://schemas.microsoft.com/office/drawing/2014/main" id="{F00C691A-083C-457C-A78E-4D64391EC60B}"/>
              </a:ext>
            </a:extLst>
          </p:cNvPr>
          <p:cNvSpPr/>
          <p:nvPr/>
        </p:nvSpPr>
        <p:spPr bwMode="auto">
          <a:xfrm>
            <a:off x="4781304" y="1653291"/>
            <a:ext cx="3537977" cy="15240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8BC6B51-3516-4080-B30B-3CA91CC06583}"/>
              </a:ext>
            </a:extLst>
          </p:cNvPr>
          <p:cNvGrpSpPr/>
          <p:nvPr/>
        </p:nvGrpSpPr>
        <p:grpSpPr>
          <a:xfrm>
            <a:off x="6966994" y="1628431"/>
            <a:ext cx="1083079" cy="1071620"/>
            <a:chOff x="7748938" y="1714348"/>
            <a:chExt cx="1179223" cy="1308407"/>
          </a:xfrm>
        </p:grpSpPr>
        <p:sp>
          <p:nvSpPr>
            <p:cNvPr id="18" name="Cylinder 17">
              <a:extLst>
                <a:ext uri="{FF2B5EF4-FFF2-40B4-BE49-F238E27FC236}">
                  <a16:creationId xmlns:a16="http://schemas.microsoft.com/office/drawing/2014/main" id="{5C1D0F9F-060C-49E2-B0F6-5F04A2A0EBF0}"/>
                </a:ext>
              </a:extLst>
            </p:cNvPr>
            <p:cNvSpPr/>
            <p:nvPr/>
          </p:nvSpPr>
          <p:spPr bwMode="auto">
            <a:xfrm>
              <a:off x="7754529" y="1714348"/>
              <a:ext cx="1173632" cy="1308407"/>
            </a:xfrm>
            <a:prstGeom prst="can">
              <a:avLst/>
            </a:prstGeom>
            <a:solidFill>
              <a:srgbClr val="0078D7">
                <a:lumMod val="40000"/>
                <a:lumOff val="60000"/>
              </a:srgbClr>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B</a:t>
              </a:r>
            </a:p>
          </p:txBody>
        </p:sp>
        <p:pic>
          <p:nvPicPr>
            <p:cNvPr id="19" name="Picture 18" descr="A close up of a logo&#10;&#10;Description automatically generated">
              <a:extLst>
                <a:ext uri="{FF2B5EF4-FFF2-40B4-BE49-F238E27FC236}">
                  <a16:creationId xmlns:a16="http://schemas.microsoft.com/office/drawing/2014/main" id="{A8CF24B7-4D99-43DA-9371-4C3AC2E84C57}"/>
                </a:ext>
              </a:extLst>
            </p:cNvPr>
            <p:cNvPicPr>
              <a:picLocks noChangeAspect="1"/>
            </p:cNvPicPr>
            <p:nvPr/>
          </p:nvPicPr>
          <p:blipFill>
            <a:blip r:embed="rId3"/>
            <a:stretch>
              <a:fillRect/>
            </a:stretch>
          </p:blipFill>
          <p:spPr>
            <a:xfrm>
              <a:off x="7748938" y="2521099"/>
              <a:ext cx="482365" cy="482365"/>
            </a:xfrm>
            <a:prstGeom prst="rect">
              <a:avLst/>
            </a:prstGeom>
          </p:spPr>
        </p:pic>
      </p:grpSp>
      <p:sp>
        <p:nvSpPr>
          <p:cNvPr id="20" name="Speech Bubble: Rectangle 19">
            <a:extLst>
              <a:ext uri="{FF2B5EF4-FFF2-40B4-BE49-F238E27FC236}">
                <a16:creationId xmlns:a16="http://schemas.microsoft.com/office/drawing/2014/main" id="{6D2BEB3E-C05C-4D6B-95DE-E3D8C50E0914}"/>
              </a:ext>
            </a:extLst>
          </p:cNvPr>
          <p:cNvSpPr/>
          <p:nvPr/>
        </p:nvSpPr>
        <p:spPr bwMode="auto">
          <a:xfrm>
            <a:off x="667041" y="1428593"/>
            <a:ext cx="1890426" cy="572464"/>
          </a:xfrm>
          <a:prstGeom prst="wedgeRectCallout">
            <a:avLst>
              <a:gd name="adj1" fmla="val 239785"/>
              <a:gd name="adj2" fmla="val 72930"/>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Schema</a:t>
            </a:r>
          </a:p>
        </p:txBody>
      </p:sp>
      <p:sp>
        <p:nvSpPr>
          <p:cNvPr id="21" name="Thought Bubble: Cloud 20">
            <a:extLst>
              <a:ext uri="{FF2B5EF4-FFF2-40B4-BE49-F238E27FC236}">
                <a16:creationId xmlns:a16="http://schemas.microsoft.com/office/drawing/2014/main" id="{6AEED2AE-ADD6-443E-8429-394EE908D799}"/>
              </a:ext>
            </a:extLst>
          </p:cNvPr>
          <p:cNvSpPr/>
          <p:nvPr/>
        </p:nvSpPr>
        <p:spPr bwMode="auto">
          <a:xfrm>
            <a:off x="625123" y="2349943"/>
            <a:ext cx="2882069" cy="1052382"/>
          </a:xfrm>
          <a:prstGeom prst="cloudCallout">
            <a:avLst>
              <a:gd name="adj1" fmla="val -16433"/>
              <a:gd name="adj2" fmla="val -76226"/>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describes which data is being synchronized</a:t>
            </a:r>
            <a:endParaRPr kumimoji="0" lang="es-E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18624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a:xfrm>
            <a:off x="655638" y="320040"/>
            <a:ext cx="10880725" cy="461666"/>
          </a:xfrm>
        </p:spPr>
        <p:txBody>
          <a:bodyPr/>
          <a:lstStyle/>
          <a:p>
            <a:r>
              <a:rPr lang="en-US" dirty="0"/>
              <a:t>What is SQL Data Sync</a:t>
            </a:r>
          </a:p>
        </p:txBody>
      </p:sp>
      <p:sp>
        <p:nvSpPr>
          <p:cNvPr id="4" name="Oval 3">
            <a:extLst>
              <a:ext uri="{FF2B5EF4-FFF2-40B4-BE49-F238E27FC236}">
                <a16:creationId xmlns:a16="http://schemas.microsoft.com/office/drawing/2014/main" id="{1A7D3F9F-0FEC-432E-B7BC-11186CC34CCD}"/>
              </a:ext>
            </a:extLst>
          </p:cNvPr>
          <p:cNvSpPr/>
          <p:nvPr/>
        </p:nvSpPr>
        <p:spPr bwMode="auto">
          <a:xfrm>
            <a:off x="655636" y="1408114"/>
            <a:ext cx="10497392" cy="4819649"/>
          </a:xfrm>
          <a:prstGeom prst="ellipse">
            <a:avLst/>
          </a:prstGeom>
          <a:no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94279AE6-875A-4D8E-81BF-5AC1C7493379}"/>
              </a:ext>
            </a:extLst>
          </p:cNvPr>
          <p:cNvSpPr txBox="1"/>
          <p:nvPr/>
        </p:nvSpPr>
        <p:spPr>
          <a:xfrm>
            <a:off x="7250744" y="1050689"/>
            <a:ext cx="2061783" cy="572464"/>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nl-BE" sz="2000" b="0" i="0" u="none" strike="noStrike" kern="0" cap="none" spc="0" normalizeH="0" baseline="0" noProof="0" dirty="0">
                <a:ln>
                  <a:noFill/>
                </a:ln>
                <a:gradFill>
                  <a:gsLst>
                    <a:gs pos="2917">
                      <a:srgbClr val="505050"/>
                    </a:gs>
                    <a:gs pos="30000">
                      <a:srgbClr val="505050"/>
                    </a:gs>
                  </a:gsLst>
                  <a:lin ang="5400000" scaled="0"/>
                </a:gradFill>
                <a:effectLst/>
                <a:uLnTx/>
                <a:uFillTx/>
              </a:rPr>
              <a:t>Sync Group</a:t>
            </a:r>
          </a:p>
        </p:txBody>
      </p:sp>
      <p:sp>
        <p:nvSpPr>
          <p:cNvPr id="6" name="Cylinder 5">
            <a:extLst>
              <a:ext uri="{FF2B5EF4-FFF2-40B4-BE49-F238E27FC236}">
                <a16:creationId xmlns:a16="http://schemas.microsoft.com/office/drawing/2014/main" id="{CBEB717F-1044-4241-A6DC-E2553652336E}"/>
              </a:ext>
            </a:extLst>
          </p:cNvPr>
          <p:cNvSpPr/>
          <p:nvPr/>
        </p:nvSpPr>
        <p:spPr bwMode="auto">
          <a:xfrm>
            <a:off x="7801893" y="3454959"/>
            <a:ext cx="1673402"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Prem)</a:t>
            </a:r>
          </a:p>
        </p:txBody>
      </p:sp>
      <p:sp>
        <p:nvSpPr>
          <p:cNvPr id="7" name="Oval 6">
            <a:extLst>
              <a:ext uri="{FF2B5EF4-FFF2-40B4-BE49-F238E27FC236}">
                <a16:creationId xmlns:a16="http://schemas.microsoft.com/office/drawing/2014/main" id="{B736C794-87A3-4F44-83F9-D363F3940488}"/>
              </a:ext>
            </a:extLst>
          </p:cNvPr>
          <p:cNvSpPr/>
          <p:nvPr/>
        </p:nvSpPr>
        <p:spPr bwMode="auto">
          <a:xfrm>
            <a:off x="8717048" y="4848941"/>
            <a:ext cx="1245894" cy="728114"/>
          </a:xfrm>
          <a:prstGeom prst="ellipse">
            <a:avLst/>
          </a:prstGeom>
          <a:solidFill>
            <a:srgbClr val="5C2D91"/>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Agent</a:t>
            </a:r>
          </a:p>
        </p:txBody>
      </p:sp>
      <p:sp>
        <p:nvSpPr>
          <p:cNvPr id="8" name="Cylinder 7">
            <a:extLst>
              <a:ext uri="{FF2B5EF4-FFF2-40B4-BE49-F238E27FC236}">
                <a16:creationId xmlns:a16="http://schemas.microsoft.com/office/drawing/2014/main" id="{78FF0195-A11D-45F1-9CD5-02F0AE22D1F0}"/>
              </a:ext>
            </a:extLst>
          </p:cNvPr>
          <p:cNvSpPr/>
          <p:nvPr/>
        </p:nvSpPr>
        <p:spPr bwMode="auto">
          <a:xfrm>
            <a:off x="5110660" y="4492851"/>
            <a:ext cx="1746788"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VM)</a:t>
            </a:r>
          </a:p>
        </p:txBody>
      </p:sp>
      <p:grpSp>
        <p:nvGrpSpPr>
          <p:cNvPr id="9" name="Group 8">
            <a:extLst>
              <a:ext uri="{FF2B5EF4-FFF2-40B4-BE49-F238E27FC236}">
                <a16:creationId xmlns:a16="http://schemas.microsoft.com/office/drawing/2014/main" id="{BFD5E544-0754-4D89-95BD-90750FC7D1FB}"/>
              </a:ext>
            </a:extLst>
          </p:cNvPr>
          <p:cNvGrpSpPr/>
          <p:nvPr/>
        </p:nvGrpSpPr>
        <p:grpSpPr>
          <a:xfrm>
            <a:off x="5139818" y="1752184"/>
            <a:ext cx="1332864" cy="1391092"/>
            <a:chOff x="5438568" y="1544066"/>
            <a:chExt cx="1451181" cy="1698472"/>
          </a:xfrm>
        </p:grpSpPr>
        <p:sp>
          <p:nvSpPr>
            <p:cNvPr id="10" name="Cylinder 9">
              <a:extLst>
                <a:ext uri="{FF2B5EF4-FFF2-40B4-BE49-F238E27FC236}">
                  <a16:creationId xmlns:a16="http://schemas.microsoft.com/office/drawing/2014/main" id="{79D061EB-7BFB-476F-B2A5-19B4A7302EE9}"/>
                </a:ext>
              </a:extLst>
            </p:cNvPr>
            <p:cNvSpPr/>
            <p:nvPr/>
          </p:nvSpPr>
          <p:spPr bwMode="auto">
            <a:xfrm>
              <a:off x="5438568" y="1544066"/>
              <a:ext cx="1451181" cy="1698472"/>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ub DB</a:t>
              </a:r>
            </a:p>
          </p:txBody>
        </p:sp>
        <p:pic>
          <p:nvPicPr>
            <p:cNvPr id="11" name="Picture 10" descr="A close up of a logo&#10;&#10;Description automatically generated">
              <a:extLst>
                <a:ext uri="{FF2B5EF4-FFF2-40B4-BE49-F238E27FC236}">
                  <a16:creationId xmlns:a16="http://schemas.microsoft.com/office/drawing/2014/main" id="{DCFC094C-333A-4B08-901A-9959D0729F56}"/>
                </a:ext>
              </a:extLst>
            </p:cNvPr>
            <p:cNvPicPr>
              <a:picLocks noChangeAspect="1"/>
            </p:cNvPicPr>
            <p:nvPr/>
          </p:nvPicPr>
          <p:blipFill>
            <a:blip r:embed="rId3"/>
            <a:stretch>
              <a:fillRect/>
            </a:stretch>
          </p:blipFill>
          <p:spPr>
            <a:xfrm>
              <a:off x="5438568" y="2628182"/>
              <a:ext cx="580718" cy="580718"/>
            </a:xfrm>
            <a:prstGeom prst="rect">
              <a:avLst/>
            </a:prstGeom>
          </p:spPr>
        </p:pic>
      </p:grpSp>
      <p:grpSp>
        <p:nvGrpSpPr>
          <p:cNvPr id="12" name="Group 11">
            <a:extLst>
              <a:ext uri="{FF2B5EF4-FFF2-40B4-BE49-F238E27FC236}">
                <a16:creationId xmlns:a16="http://schemas.microsoft.com/office/drawing/2014/main" id="{F6EDEE11-41AB-4717-AEFA-B6C82E469A68}"/>
              </a:ext>
            </a:extLst>
          </p:cNvPr>
          <p:cNvGrpSpPr/>
          <p:nvPr/>
        </p:nvGrpSpPr>
        <p:grpSpPr>
          <a:xfrm>
            <a:off x="1848723" y="3429000"/>
            <a:ext cx="1673401" cy="1603150"/>
            <a:chOff x="2447785" y="3590215"/>
            <a:chExt cx="1821948" cy="1957388"/>
          </a:xfrm>
        </p:grpSpPr>
        <p:sp>
          <p:nvSpPr>
            <p:cNvPr id="13" name="Cylinder 12">
              <a:extLst>
                <a:ext uri="{FF2B5EF4-FFF2-40B4-BE49-F238E27FC236}">
                  <a16:creationId xmlns:a16="http://schemas.microsoft.com/office/drawing/2014/main" id="{C2487B43-4F64-40C2-AB4A-E35EF49FECAF}"/>
                </a:ext>
              </a:extLst>
            </p:cNvPr>
            <p:cNvSpPr/>
            <p:nvPr/>
          </p:nvSpPr>
          <p:spPr bwMode="auto">
            <a:xfrm>
              <a:off x="2447785" y="3590215"/>
              <a:ext cx="1821948" cy="1957388"/>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pic>
          <p:nvPicPr>
            <p:cNvPr id="14" name="Picture 13" descr="A close up of a logo&#10;&#10;Description automatically generated">
              <a:extLst>
                <a:ext uri="{FF2B5EF4-FFF2-40B4-BE49-F238E27FC236}">
                  <a16:creationId xmlns:a16="http://schemas.microsoft.com/office/drawing/2014/main" id="{207C9564-3AEB-4160-881D-DEABD11C3307}"/>
                </a:ext>
              </a:extLst>
            </p:cNvPr>
            <p:cNvPicPr>
              <a:picLocks noChangeAspect="1"/>
            </p:cNvPicPr>
            <p:nvPr/>
          </p:nvPicPr>
          <p:blipFill>
            <a:blip r:embed="rId3"/>
            <a:stretch>
              <a:fillRect/>
            </a:stretch>
          </p:blipFill>
          <p:spPr>
            <a:xfrm>
              <a:off x="2452385" y="4907705"/>
              <a:ext cx="580718" cy="580718"/>
            </a:xfrm>
            <a:prstGeom prst="rect">
              <a:avLst/>
            </a:prstGeom>
          </p:spPr>
        </p:pic>
      </p:grpSp>
      <p:sp>
        <p:nvSpPr>
          <p:cNvPr id="15" name="Rectangle 14">
            <a:extLst>
              <a:ext uri="{FF2B5EF4-FFF2-40B4-BE49-F238E27FC236}">
                <a16:creationId xmlns:a16="http://schemas.microsoft.com/office/drawing/2014/main" id="{F00C691A-083C-457C-A78E-4D64391EC60B}"/>
              </a:ext>
            </a:extLst>
          </p:cNvPr>
          <p:cNvSpPr/>
          <p:nvPr/>
        </p:nvSpPr>
        <p:spPr bwMode="auto">
          <a:xfrm>
            <a:off x="4781304" y="1653291"/>
            <a:ext cx="3537977" cy="15240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8BC6B51-3516-4080-B30B-3CA91CC06583}"/>
              </a:ext>
            </a:extLst>
          </p:cNvPr>
          <p:cNvGrpSpPr/>
          <p:nvPr/>
        </p:nvGrpSpPr>
        <p:grpSpPr>
          <a:xfrm>
            <a:off x="6966994" y="1628431"/>
            <a:ext cx="1083079" cy="1071620"/>
            <a:chOff x="7748938" y="1714348"/>
            <a:chExt cx="1179223" cy="1308407"/>
          </a:xfrm>
        </p:grpSpPr>
        <p:sp>
          <p:nvSpPr>
            <p:cNvPr id="18" name="Cylinder 17">
              <a:extLst>
                <a:ext uri="{FF2B5EF4-FFF2-40B4-BE49-F238E27FC236}">
                  <a16:creationId xmlns:a16="http://schemas.microsoft.com/office/drawing/2014/main" id="{5C1D0F9F-060C-49E2-B0F6-5F04A2A0EBF0}"/>
                </a:ext>
              </a:extLst>
            </p:cNvPr>
            <p:cNvSpPr/>
            <p:nvPr/>
          </p:nvSpPr>
          <p:spPr bwMode="auto">
            <a:xfrm>
              <a:off x="7754529" y="1714348"/>
              <a:ext cx="1173632" cy="1308407"/>
            </a:xfrm>
            <a:prstGeom prst="can">
              <a:avLst/>
            </a:prstGeom>
            <a:solidFill>
              <a:srgbClr val="0078D7">
                <a:lumMod val="40000"/>
                <a:lumOff val="60000"/>
              </a:srgbClr>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B</a:t>
              </a:r>
            </a:p>
          </p:txBody>
        </p:sp>
        <p:pic>
          <p:nvPicPr>
            <p:cNvPr id="19" name="Picture 18" descr="A close up of a logo&#10;&#10;Description automatically generated">
              <a:extLst>
                <a:ext uri="{FF2B5EF4-FFF2-40B4-BE49-F238E27FC236}">
                  <a16:creationId xmlns:a16="http://schemas.microsoft.com/office/drawing/2014/main" id="{A8CF24B7-4D99-43DA-9371-4C3AC2E84C57}"/>
                </a:ext>
              </a:extLst>
            </p:cNvPr>
            <p:cNvPicPr>
              <a:picLocks noChangeAspect="1"/>
            </p:cNvPicPr>
            <p:nvPr/>
          </p:nvPicPr>
          <p:blipFill>
            <a:blip r:embed="rId3"/>
            <a:stretch>
              <a:fillRect/>
            </a:stretch>
          </p:blipFill>
          <p:spPr>
            <a:xfrm>
              <a:off x="7748938" y="2521099"/>
              <a:ext cx="482365" cy="482365"/>
            </a:xfrm>
            <a:prstGeom prst="rect">
              <a:avLst/>
            </a:prstGeom>
          </p:spPr>
        </p:pic>
      </p:grpSp>
      <p:sp>
        <p:nvSpPr>
          <p:cNvPr id="20" name="Speech Bubble: Rectangle 19">
            <a:extLst>
              <a:ext uri="{FF2B5EF4-FFF2-40B4-BE49-F238E27FC236}">
                <a16:creationId xmlns:a16="http://schemas.microsoft.com/office/drawing/2014/main" id="{6D2BEB3E-C05C-4D6B-95DE-E3D8C50E0914}"/>
              </a:ext>
            </a:extLst>
          </p:cNvPr>
          <p:cNvSpPr/>
          <p:nvPr/>
        </p:nvSpPr>
        <p:spPr bwMode="auto">
          <a:xfrm>
            <a:off x="667041" y="1428593"/>
            <a:ext cx="1890426" cy="572464"/>
          </a:xfrm>
          <a:prstGeom prst="wedgeRectCallout">
            <a:avLst>
              <a:gd name="adj1" fmla="val 239785"/>
              <a:gd name="adj2" fmla="val 72930"/>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Schema</a:t>
            </a:r>
          </a:p>
        </p:txBody>
      </p:sp>
      <p:sp>
        <p:nvSpPr>
          <p:cNvPr id="22" name="Speech Bubble: Rectangle 21">
            <a:extLst>
              <a:ext uri="{FF2B5EF4-FFF2-40B4-BE49-F238E27FC236}">
                <a16:creationId xmlns:a16="http://schemas.microsoft.com/office/drawing/2014/main" id="{2814FEDC-11C8-4326-B4E1-0BCB73F6B5FA}"/>
              </a:ext>
            </a:extLst>
          </p:cNvPr>
          <p:cNvSpPr/>
          <p:nvPr/>
        </p:nvSpPr>
        <p:spPr bwMode="auto">
          <a:xfrm>
            <a:off x="9650865" y="1462543"/>
            <a:ext cx="1890426" cy="572464"/>
          </a:xfrm>
          <a:prstGeom prst="wedgeRectCallout">
            <a:avLst>
              <a:gd name="adj1" fmla="val -167932"/>
              <a:gd name="adj2" fmla="val 258924"/>
            </a:avLst>
          </a:prstGeom>
          <a:solidFill>
            <a:srgbClr val="0078D7"/>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Interval</a:t>
            </a:r>
          </a:p>
        </p:txBody>
      </p:sp>
      <p:sp>
        <p:nvSpPr>
          <p:cNvPr id="23" name="Thought Bubble: Cloud 22">
            <a:extLst>
              <a:ext uri="{FF2B5EF4-FFF2-40B4-BE49-F238E27FC236}">
                <a16:creationId xmlns:a16="http://schemas.microsoft.com/office/drawing/2014/main" id="{2FE02094-E36E-4593-9B79-8DBB573CDA56}"/>
              </a:ext>
            </a:extLst>
          </p:cNvPr>
          <p:cNvSpPr/>
          <p:nvPr/>
        </p:nvSpPr>
        <p:spPr bwMode="auto">
          <a:xfrm>
            <a:off x="161324" y="5206446"/>
            <a:ext cx="2396144" cy="1021317"/>
          </a:xfrm>
          <a:prstGeom prst="cloudCallout">
            <a:avLst>
              <a:gd name="adj1" fmla="val -17595"/>
              <a:gd name="adj2" fmla="val -226511"/>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bi-directional or one direction</a:t>
            </a:r>
            <a:endParaRPr kumimoji="0" lang="es-E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hought Bubble: Cloud 23">
            <a:extLst>
              <a:ext uri="{FF2B5EF4-FFF2-40B4-BE49-F238E27FC236}">
                <a16:creationId xmlns:a16="http://schemas.microsoft.com/office/drawing/2014/main" id="{01D3FE7C-24B7-4D42-988C-333A18F4A281}"/>
              </a:ext>
            </a:extLst>
          </p:cNvPr>
          <p:cNvSpPr/>
          <p:nvPr/>
        </p:nvSpPr>
        <p:spPr bwMode="auto">
          <a:xfrm>
            <a:off x="9500140" y="2508231"/>
            <a:ext cx="2763358" cy="1384433"/>
          </a:xfrm>
          <a:prstGeom prst="cloudCallout">
            <a:avLst>
              <a:gd name="adj1" fmla="val -4696"/>
              <a:gd name="adj2" fmla="val -79413"/>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describes how often synchronization occurs</a:t>
            </a:r>
            <a:endParaRPr kumimoji="0" lang="es-E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Left-Right 24">
            <a:extLst>
              <a:ext uri="{FF2B5EF4-FFF2-40B4-BE49-F238E27FC236}">
                <a16:creationId xmlns:a16="http://schemas.microsoft.com/office/drawing/2014/main" id="{3F67D88A-7D3E-498C-965C-BAE03FC7522D}"/>
              </a:ext>
            </a:extLst>
          </p:cNvPr>
          <p:cNvSpPr/>
          <p:nvPr/>
        </p:nvSpPr>
        <p:spPr bwMode="auto">
          <a:xfrm rot="18871694">
            <a:off x="3664648" y="3313240"/>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Left-Right 25">
            <a:extLst>
              <a:ext uri="{FF2B5EF4-FFF2-40B4-BE49-F238E27FC236}">
                <a16:creationId xmlns:a16="http://schemas.microsoft.com/office/drawing/2014/main" id="{253DCA92-4AE6-4A82-995B-9B3D3D409737}"/>
              </a:ext>
            </a:extLst>
          </p:cNvPr>
          <p:cNvSpPr/>
          <p:nvPr/>
        </p:nvSpPr>
        <p:spPr bwMode="auto">
          <a:xfrm rot="12788609">
            <a:off x="6558977" y="3082790"/>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Speech Bubble: Rectangle 26">
            <a:extLst>
              <a:ext uri="{FF2B5EF4-FFF2-40B4-BE49-F238E27FC236}">
                <a16:creationId xmlns:a16="http://schemas.microsoft.com/office/drawing/2014/main" id="{683D8234-648A-47C9-A73E-0939E2C6F446}"/>
              </a:ext>
            </a:extLst>
          </p:cNvPr>
          <p:cNvSpPr/>
          <p:nvPr/>
        </p:nvSpPr>
        <p:spPr bwMode="auto">
          <a:xfrm>
            <a:off x="146579" y="2682240"/>
            <a:ext cx="1890425" cy="572464"/>
          </a:xfrm>
          <a:prstGeom prst="wedgeRectCallout">
            <a:avLst>
              <a:gd name="adj1" fmla="val 165259"/>
              <a:gd name="adj2" fmla="val 59421"/>
            </a:avLst>
          </a:prstGeom>
          <a:solidFill>
            <a:srgbClr val="B4009E"/>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irection</a:t>
            </a:r>
          </a:p>
        </p:txBody>
      </p:sp>
      <p:sp>
        <p:nvSpPr>
          <p:cNvPr id="28" name="Arrow: Left-Right 27">
            <a:extLst>
              <a:ext uri="{FF2B5EF4-FFF2-40B4-BE49-F238E27FC236}">
                <a16:creationId xmlns:a16="http://schemas.microsoft.com/office/drawing/2014/main" id="{291C0DC5-3134-4531-BEC1-1D55480908B8}"/>
              </a:ext>
            </a:extLst>
          </p:cNvPr>
          <p:cNvSpPr/>
          <p:nvPr/>
        </p:nvSpPr>
        <p:spPr bwMode="auto">
          <a:xfrm rot="16200000">
            <a:off x="5238438" y="3719994"/>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24515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P spid="27" grpId="0" animBg="1"/>
      <p:bldP spid="28"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a:xfrm>
            <a:off x="655638" y="320040"/>
            <a:ext cx="10880725" cy="461666"/>
          </a:xfrm>
        </p:spPr>
        <p:txBody>
          <a:bodyPr/>
          <a:lstStyle/>
          <a:p>
            <a:r>
              <a:rPr lang="en-US" dirty="0"/>
              <a:t>What is SQL Data Sync</a:t>
            </a:r>
          </a:p>
        </p:txBody>
      </p:sp>
      <p:sp>
        <p:nvSpPr>
          <p:cNvPr id="4" name="Oval 3">
            <a:extLst>
              <a:ext uri="{FF2B5EF4-FFF2-40B4-BE49-F238E27FC236}">
                <a16:creationId xmlns:a16="http://schemas.microsoft.com/office/drawing/2014/main" id="{1A7D3F9F-0FEC-432E-B7BC-11186CC34CCD}"/>
              </a:ext>
            </a:extLst>
          </p:cNvPr>
          <p:cNvSpPr/>
          <p:nvPr/>
        </p:nvSpPr>
        <p:spPr bwMode="auto">
          <a:xfrm>
            <a:off x="655636" y="1408114"/>
            <a:ext cx="10497392" cy="4819649"/>
          </a:xfrm>
          <a:prstGeom prst="ellipse">
            <a:avLst/>
          </a:prstGeom>
          <a:no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94279AE6-875A-4D8E-81BF-5AC1C7493379}"/>
              </a:ext>
            </a:extLst>
          </p:cNvPr>
          <p:cNvSpPr txBox="1"/>
          <p:nvPr/>
        </p:nvSpPr>
        <p:spPr>
          <a:xfrm>
            <a:off x="7250744" y="1050689"/>
            <a:ext cx="2061783" cy="572464"/>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nl-BE" sz="2000" b="0" i="0" u="none" strike="noStrike" kern="0" cap="none" spc="0" normalizeH="0" baseline="0" noProof="0" dirty="0">
                <a:ln>
                  <a:noFill/>
                </a:ln>
                <a:gradFill>
                  <a:gsLst>
                    <a:gs pos="2917">
                      <a:srgbClr val="505050"/>
                    </a:gs>
                    <a:gs pos="30000">
                      <a:srgbClr val="505050"/>
                    </a:gs>
                  </a:gsLst>
                  <a:lin ang="5400000" scaled="0"/>
                </a:gradFill>
                <a:effectLst/>
                <a:uLnTx/>
                <a:uFillTx/>
              </a:rPr>
              <a:t>Sync Group</a:t>
            </a:r>
          </a:p>
        </p:txBody>
      </p:sp>
      <p:sp>
        <p:nvSpPr>
          <p:cNvPr id="6" name="Cylinder 5">
            <a:extLst>
              <a:ext uri="{FF2B5EF4-FFF2-40B4-BE49-F238E27FC236}">
                <a16:creationId xmlns:a16="http://schemas.microsoft.com/office/drawing/2014/main" id="{CBEB717F-1044-4241-A6DC-E2553652336E}"/>
              </a:ext>
            </a:extLst>
          </p:cNvPr>
          <p:cNvSpPr/>
          <p:nvPr/>
        </p:nvSpPr>
        <p:spPr bwMode="auto">
          <a:xfrm>
            <a:off x="7801893" y="3454959"/>
            <a:ext cx="1673402"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Prem)</a:t>
            </a:r>
          </a:p>
        </p:txBody>
      </p:sp>
      <p:sp>
        <p:nvSpPr>
          <p:cNvPr id="7" name="Oval 6">
            <a:extLst>
              <a:ext uri="{FF2B5EF4-FFF2-40B4-BE49-F238E27FC236}">
                <a16:creationId xmlns:a16="http://schemas.microsoft.com/office/drawing/2014/main" id="{B736C794-87A3-4F44-83F9-D363F3940488}"/>
              </a:ext>
            </a:extLst>
          </p:cNvPr>
          <p:cNvSpPr/>
          <p:nvPr/>
        </p:nvSpPr>
        <p:spPr bwMode="auto">
          <a:xfrm>
            <a:off x="8717048" y="4848941"/>
            <a:ext cx="1245894" cy="728114"/>
          </a:xfrm>
          <a:prstGeom prst="ellipse">
            <a:avLst/>
          </a:prstGeom>
          <a:solidFill>
            <a:srgbClr val="5C2D91"/>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Agent</a:t>
            </a:r>
          </a:p>
        </p:txBody>
      </p:sp>
      <p:sp>
        <p:nvSpPr>
          <p:cNvPr id="8" name="Cylinder 7">
            <a:extLst>
              <a:ext uri="{FF2B5EF4-FFF2-40B4-BE49-F238E27FC236}">
                <a16:creationId xmlns:a16="http://schemas.microsoft.com/office/drawing/2014/main" id="{78FF0195-A11D-45F1-9CD5-02F0AE22D1F0}"/>
              </a:ext>
            </a:extLst>
          </p:cNvPr>
          <p:cNvSpPr/>
          <p:nvPr/>
        </p:nvSpPr>
        <p:spPr bwMode="auto">
          <a:xfrm>
            <a:off x="5110660" y="4492851"/>
            <a:ext cx="1746788" cy="160315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VM)</a:t>
            </a:r>
          </a:p>
        </p:txBody>
      </p:sp>
      <p:grpSp>
        <p:nvGrpSpPr>
          <p:cNvPr id="9" name="Group 8">
            <a:extLst>
              <a:ext uri="{FF2B5EF4-FFF2-40B4-BE49-F238E27FC236}">
                <a16:creationId xmlns:a16="http://schemas.microsoft.com/office/drawing/2014/main" id="{BFD5E544-0754-4D89-95BD-90750FC7D1FB}"/>
              </a:ext>
            </a:extLst>
          </p:cNvPr>
          <p:cNvGrpSpPr/>
          <p:nvPr/>
        </p:nvGrpSpPr>
        <p:grpSpPr>
          <a:xfrm>
            <a:off x="5139818" y="1752184"/>
            <a:ext cx="1332864" cy="1391092"/>
            <a:chOff x="5438568" y="1544066"/>
            <a:chExt cx="1451181" cy="1698472"/>
          </a:xfrm>
        </p:grpSpPr>
        <p:sp>
          <p:nvSpPr>
            <p:cNvPr id="10" name="Cylinder 9">
              <a:extLst>
                <a:ext uri="{FF2B5EF4-FFF2-40B4-BE49-F238E27FC236}">
                  <a16:creationId xmlns:a16="http://schemas.microsoft.com/office/drawing/2014/main" id="{79D061EB-7BFB-476F-B2A5-19B4A7302EE9}"/>
                </a:ext>
              </a:extLst>
            </p:cNvPr>
            <p:cNvSpPr/>
            <p:nvPr/>
          </p:nvSpPr>
          <p:spPr bwMode="auto">
            <a:xfrm>
              <a:off x="5438568" y="1544066"/>
              <a:ext cx="1451181" cy="1698472"/>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ub DB</a:t>
              </a:r>
            </a:p>
          </p:txBody>
        </p:sp>
        <p:pic>
          <p:nvPicPr>
            <p:cNvPr id="11" name="Picture 10" descr="A close up of a logo&#10;&#10;Description automatically generated">
              <a:extLst>
                <a:ext uri="{FF2B5EF4-FFF2-40B4-BE49-F238E27FC236}">
                  <a16:creationId xmlns:a16="http://schemas.microsoft.com/office/drawing/2014/main" id="{DCFC094C-333A-4B08-901A-9959D0729F56}"/>
                </a:ext>
              </a:extLst>
            </p:cNvPr>
            <p:cNvPicPr>
              <a:picLocks noChangeAspect="1"/>
            </p:cNvPicPr>
            <p:nvPr/>
          </p:nvPicPr>
          <p:blipFill>
            <a:blip r:embed="rId3"/>
            <a:stretch>
              <a:fillRect/>
            </a:stretch>
          </p:blipFill>
          <p:spPr>
            <a:xfrm>
              <a:off x="5438568" y="2628182"/>
              <a:ext cx="580718" cy="580718"/>
            </a:xfrm>
            <a:prstGeom prst="rect">
              <a:avLst/>
            </a:prstGeom>
          </p:spPr>
        </p:pic>
      </p:grpSp>
      <p:grpSp>
        <p:nvGrpSpPr>
          <p:cNvPr id="12" name="Group 11">
            <a:extLst>
              <a:ext uri="{FF2B5EF4-FFF2-40B4-BE49-F238E27FC236}">
                <a16:creationId xmlns:a16="http://schemas.microsoft.com/office/drawing/2014/main" id="{F6EDEE11-41AB-4717-AEFA-B6C82E469A68}"/>
              </a:ext>
            </a:extLst>
          </p:cNvPr>
          <p:cNvGrpSpPr/>
          <p:nvPr/>
        </p:nvGrpSpPr>
        <p:grpSpPr>
          <a:xfrm>
            <a:off x="1848723" y="3429000"/>
            <a:ext cx="1673401" cy="1603150"/>
            <a:chOff x="2447785" y="3590215"/>
            <a:chExt cx="1821948" cy="1957388"/>
          </a:xfrm>
        </p:grpSpPr>
        <p:sp>
          <p:nvSpPr>
            <p:cNvPr id="13" name="Cylinder 12">
              <a:extLst>
                <a:ext uri="{FF2B5EF4-FFF2-40B4-BE49-F238E27FC236}">
                  <a16:creationId xmlns:a16="http://schemas.microsoft.com/office/drawing/2014/main" id="{C2487B43-4F64-40C2-AB4A-E35EF49FECAF}"/>
                </a:ext>
              </a:extLst>
            </p:cNvPr>
            <p:cNvSpPr/>
            <p:nvPr/>
          </p:nvSpPr>
          <p:spPr bwMode="auto">
            <a:xfrm>
              <a:off x="2447785" y="3590215"/>
              <a:ext cx="1821948" cy="1957388"/>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ber DB</a:t>
              </a:r>
              <a:b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nl-BE"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pic>
          <p:nvPicPr>
            <p:cNvPr id="14" name="Picture 13" descr="A close up of a logo&#10;&#10;Description automatically generated">
              <a:extLst>
                <a:ext uri="{FF2B5EF4-FFF2-40B4-BE49-F238E27FC236}">
                  <a16:creationId xmlns:a16="http://schemas.microsoft.com/office/drawing/2014/main" id="{207C9564-3AEB-4160-881D-DEABD11C3307}"/>
                </a:ext>
              </a:extLst>
            </p:cNvPr>
            <p:cNvPicPr>
              <a:picLocks noChangeAspect="1"/>
            </p:cNvPicPr>
            <p:nvPr/>
          </p:nvPicPr>
          <p:blipFill>
            <a:blip r:embed="rId3"/>
            <a:stretch>
              <a:fillRect/>
            </a:stretch>
          </p:blipFill>
          <p:spPr>
            <a:xfrm>
              <a:off x="2452385" y="4907705"/>
              <a:ext cx="580718" cy="580718"/>
            </a:xfrm>
            <a:prstGeom prst="rect">
              <a:avLst/>
            </a:prstGeom>
          </p:spPr>
        </p:pic>
      </p:grpSp>
      <p:sp>
        <p:nvSpPr>
          <p:cNvPr id="15" name="Rectangle 14">
            <a:extLst>
              <a:ext uri="{FF2B5EF4-FFF2-40B4-BE49-F238E27FC236}">
                <a16:creationId xmlns:a16="http://schemas.microsoft.com/office/drawing/2014/main" id="{F00C691A-083C-457C-A78E-4D64391EC60B}"/>
              </a:ext>
            </a:extLst>
          </p:cNvPr>
          <p:cNvSpPr/>
          <p:nvPr/>
        </p:nvSpPr>
        <p:spPr bwMode="auto">
          <a:xfrm>
            <a:off x="4781304" y="1653291"/>
            <a:ext cx="3537977" cy="15240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8BC6B51-3516-4080-B30B-3CA91CC06583}"/>
              </a:ext>
            </a:extLst>
          </p:cNvPr>
          <p:cNvGrpSpPr/>
          <p:nvPr/>
        </p:nvGrpSpPr>
        <p:grpSpPr>
          <a:xfrm>
            <a:off x="6966994" y="1628431"/>
            <a:ext cx="1083079" cy="1071620"/>
            <a:chOff x="7748938" y="1714348"/>
            <a:chExt cx="1179223" cy="1308407"/>
          </a:xfrm>
        </p:grpSpPr>
        <p:sp>
          <p:nvSpPr>
            <p:cNvPr id="18" name="Cylinder 17">
              <a:extLst>
                <a:ext uri="{FF2B5EF4-FFF2-40B4-BE49-F238E27FC236}">
                  <a16:creationId xmlns:a16="http://schemas.microsoft.com/office/drawing/2014/main" id="{5C1D0F9F-060C-49E2-B0F6-5F04A2A0EBF0}"/>
                </a:ext>
              </a:extLst>
            </p:cNvPr>
            <p:cNvSpPr/>
            <p:nvPr/>
          </p:nvSpPr>
          <p:spPr bwMode="auto">
            <a:xfrm>
              <a:off x="7754529" y="1714348"/>
              <a:ext cx="1173632" cy="1308407"/>
            </a:xfrm>
            <a:prstGeom prst="can">
              <a:avLst/>
            </a:prstGeom>
            <a:solidFill>
              <a:srgbClr val="0078D7">
                <a:lumMod val="40000"/>
                <a:lumOff val="60000"/>
              </a:srgbClr>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B</a:t>
              </a:r>
            </a:p>
          </p:txBody>
        </p:sp>
        <p:pic>
          <p:nvPicPr>
            <p:cNvPr id="19" name="Picture 18" descr="A close up of a logo&#10;&#10;Description automatically generated">
              <a:extLst>
                <a:ext uri="{FF2B5EF4-FFF2-40B4-BE49-F238E27FC236}">
                  <a16:creationId xmlns:a16="http://schemas.microsoft.com/office/drawing/2014/main" id="{A8CF24B7-4D99-43DA-9371-4C3AC2E84C57}"/>
                </a:ext>
              </a:extLst>
            </p:cNvPr>
            <p:cNvPicPr>
              <a:picLocks noChangeAspect="1"/>
            </p:cNvPicPr>
            <p:nvPr/>
          </p:nvPicPr>
          <p:blipFill>
            <a:blip r:embed="rId3"/>
            <a:stretch>
              <a:fillRect/>
            </a:stretch>
          </p:blipFill>
          <p:spPr>
            <a:xfrm>
              <a:off x="7748938" y="2521099"/>
              <a:ext cx="482365" cy="482365"/>
            </a:xfrm>
            <a:prstGeom prst="rect">
              <a:avLst/>
            </a:prstGeom>
          </p:spPr>
        </p:pic>
      </p:grpSp>
      <p:sp>
        <p:nvSpPr>
          <p:cNvPr id="20" name="Speech Bubble: Rectangle 19">
            <a:extLst>
              <a:ext uri="{FF2B5EF4-FFF2-40B4-BE49-F238E27FC236}">
                <a16:creationId xmlns:a16="http://schemas.microsoft.com/office/drawing/2014/main" id="{6D2BEB3E-C05C-4D6B-95DE-E3D8C50E0914}"/>
              </a:ext>
            </a:extLst>
          </p:cNvPr>
          <p:cNvSpPr/>
          <p:nvPr/>
        </p:nvSpPr>
        <p:spPr bwMode="auto">
          <a:xfrm>
            <a:off x="667041" y="1428593"/>
            <a:ext cx="1890426" cy="572464"/>
          </a:xfrm>
          <a:prstGeom prst="wedgeRectCallout">
            <a:avLst>
              <a:gd name="adj1" fmla="val 239785"/>
              <a:gd name="adj2" fmla="val 72930"/>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Schema</a:t>
            </a:r>
          </a:p>
        </p:txBody>
      </p:sp>
      <p:sp>
        <p:nvSpPr>
          <p:cNvPr id="22" name="Speech Bubble: Rectangle 21">
            <a:extLst>
              <a:ext uri="{FF2B5EF4-FFF2-40B4-BE49-F238E27FC236}">
                <a16:creationId xmlns:a16="http://schemas.microsoft.com/office/drawing/2014/main" id="{2814FEDC-11C8-4326-B4E1-0BCB73F6B5FA}"/>
              </a:ext>
            </a:extLst>
          </p:cNvPr>
          <p:cNvSpPr/>
          <p:nvPr/>
        </p:nvSpPr>
        <p:spPr bwMode="auto">
          <a:xfrm>
            <a:off x="9650865" y="1462543"/>
            <a:ext cx="1890426" cy="572464"/>
          </a:xfrm>
          <a:prstGeom prst="wedgeRectCallout">
            <a:avLst>
              <a:gd name="adj1" fmla="val -167932"/>
              <a:gd name="adj2" fmla="val 258924"/>
            </a:avLst>
          </a:prstGeom>
          <a:solidFill>
            <a:srgbClr val="0078D7"/>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Interval</a:t>
            </a:r>
          </a:p>
        </p:txBody>
      </p:sp>
      <p:sp>
        <p:nvSpPr>
          <p:cNvPr id="25" name="Arrow: Left-Right 24">
            <a:extLst>
              <a:ext uri="{FF2B5EF4-FFF2-40B4-BE49-F238E27FC236}">
                <a16:creationId xmlns:a16="http://schemas.microsoft.com/office/drawing/2014/main" id="{3F67D88A-7D3E-498C-965C-BAE03FC7522D}"/>
              </a:ext>
            </a:extLst>
          </p:cNvPr>
          <p:cNvSpPr/>
          <p:nvPr/>
        </p:nvSpPr>
        <p:spPr bwMode="auto">
          <a:xfrm rot="18871694">
            <a:off x="3664648" y="3313240"/>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Left-Right 25">
            <a:extLst>
              <a:ext uri="{FF2B5EF4-FFF2-40B4-BE49-F238E27FC236}">
                <a16:creationId xmlns:a16="http://schemas.microsoft.com/office/drawing/2014/main" id="{253DCA92-4AE6-4A82-995B-9B3D3D409737}"/>
              </a:ext>
            </a:extLst>
          </p:cNvPr>
          <p:cNvSpPr/>
          <p:nvPr/>
        </p:nvSpPr>
        <p:spPr bwMode="auto">
          <a:xfrm rot="12788609">
            <a:off x="6558977" y="3082790"/>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Speech Bubble: Rectangle 26">
            <a:extLst>
              <a:ext uri="{FF2B5EF4-FFF2-40B4-BE49-F238E27FC236}">
                <a16:creationId xmlns:a16="http://schemas.microsoft.com/office/drawing/2014/main" id="{683D8234-648A-47C9-A73E-0939E2C6F446}"/>
              </a:ext>
            </a:extLst>
          </p:cNvPr>
          <p:cNvSpPr/>
          <p:nvPr/>
        </p:nvSpPr>
        <p:spPr bwMode="auto">
          <a:xfrm>
            <a:off x="146579" y="2682240"/>
            <a:ext cx="1890425" cy="572464"/>
          </a:xfrm>
          <a:prstGeom prst="wedgeRectCallout">
            <a:avLst>
              <a:gd name="adj1" fmla="val 165259"/>
              <a:gd name="adj2" fmla="val 59421"/>
            </a:avLst>
          </a:prstGeom>
          <a:solidFill>
            <a:srgbClr val="B4009E"/>
          </a:soli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nl-BE"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c Direction</a:t>
            </a:r>
          </a:p>
        </p:txBody>
      </p:sp>
      <p:sp>
        <p:nvSpPr>
          <p:cNvPr id="28" name="Arrow: Left-Right 27">
            <a:extLst>
              <a:ext uri="{FF2B5EF4-FFF2-40B4-BE49-F238E27FC236}">
                <a16:creationId xmlns:a16="http://schemas.microsoft.com/office/drawing/2014/main" id="{291C0DC5-3134-4531-BEC1-1D55480908B8}"/>
              </a:ext>
            </a:extLst>
          </p:cNvPr>
          <p:cNvSpPr/>
          <p:nvPr/>
        </p:nvSpPr>
        <p:spPr bwMode="auto">
          <a:xfrm rot="16200000">
            <a:off x="5238438" y="3719994"/>
            <a:ext cx="1292688" cy="283438"/>
          </a:xfrm>
          <a:prstGeom prst="leftRightArrow">
            <a:avLst/>
          </a:prstGeom>
          <a:solidFill>
            <a:srgbClr val="D83B01"/>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nl-BE"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Speech Bubble: Rectangle 29">
            <a:extLst>
              <a:ext uri="{FF2B5EF4-FFF2-40B4-BE49-F238E27FC236}">
                <a16:creationId xmlns:a16="http://schemas.microsoft.com/office/drawing/2014/main" id="{76FFB9D5-D8E7-4CD5-95F2-956FD9F67827}"/>
              </a:ext>
            </a:extLst>
          </p:cNvPr>
          <p:cNvSpPr/>
          <p:nvPr/>
        </p:nvSpPr>
        <p:spPr bwMode="auto">
          <a:xfrm>
            <a:off x="8770972" y="247756"/>
            <a:ext cx="1761538" cy="981646"/>
          </a:xfrm>
          <a:prstGeom prst="wedgeRectCallout">
            <a:avLst>
              <a:gd name="adj1" fmla="val -72742"/>
              <a:gd name="adj2" fmla="val 153203"/>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e</a:t>
            </a:r>
            <a:endParaRPr kumimoji="0" lang="es-E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gion</a:t>
            </a:r>
            <a:endParaRPr kumimoji="0" lang="es-E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4221DB05-4C0D-48A7-90CB-5824AF8CA6FA}"/>
              </a:ext>
            </a:extLst>
          </p:cNvPr>
          <p:cNvSpPr/>
          <p:nvPr/>
        </p:nvSpPr>
        <p:spPr bwMode="auto">
          <a:xfrm>
            <a:off x="4673785" y="1494131"/>
            <a:ext cx="3699642" cy="1860755"/>
          </a:xfrm>
          <a:prstGeom prst="rect">
            <a:avLst/>
          </a:prstGeom>
          <a:noFill/>
          <a:ln w="31750" cap="flat" cmpd="sng" algn="ctr">
            <a:solidFill>
              <a:srgbClr val="7030A0"/>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96917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How does Data Sync work?</a:t>
            </a:r>
          </a:p>
        </p:txBody>
      </p:sp>
      <p:graphicFrame>
        <p:nvGraphicFramePr>
          <p:cNvPr id="4" name="Diagram 3">
            <a:extLst>
              <a:ext uri="{FF2B5EF4-FFF2-40B4-BE49-F238E27FC236}">
                <a16:creationId xmlns:a16="http://schemas.microsoft.com/office/drawing/2014/main" id="{4A1DE566-8E25-44B4-84D2-DF381F5CEC6B}"/>
              </a:ext>
            </a:extLst>
          </p:cNvPr>
          <p:cNvGraphicFramePr/>
          <p:nvPr>
            <p:extLst>
              <p:ext uri="{D42A27DB-BD31-4B8C-83A1-F6EECF244321}">
                <p14:modId xmlns:p14="http://schemas.microsoft.com/office/powerpoint/2010/main" val="3082791009"/>
              </p:ext>
            </p:extLst>
          </p:nvPr>
        </p:nvGraphicFramePr>
        <p:xfrm>
          <a:off x="655637" y="1447800"/>
          <a:ext cx="10880726" cy="4466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947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13CC0F7-20EB-44FD-A27B-85F3E8928937}"/>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1F4E388C-6B98-4514-A32A-0D9CF7EF534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FC6BF989-F978-46B3-B4B6-8AFB28489C7A}"/>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4302A472-C347-454B-9140-B0C316380FA7}"/>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dgm id="{BDB0CB65-776C-42C0-8AAD-DC8078AEB59C}"/>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graphicEl>
                                              <a:dgm id="{C7B578CD-9829-4E5E-BD98-C536AB7DBE83}"/>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graphicEl>
                                              <a:dgm id="{4951BF6D-996E-4824-A47C-804E63481561}"/>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0899E82A-16EE-4280-A22B-3F89B30A525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Data Sync vs. Transactional Replication</a:t>
            </a:r>
          </a:p>
        </p:txBody>
      </p:sp>
      <p:sp>
        <p:nvSpPr>
          <p:cNvPr id="3" name="Content Placeholder 2">
            <a:extLst>
              <a:ext uri="{FF2B5EF4-FFF2-40B4-BE49-F238E27FC236}">
                <a16:creationId xmlns:a16="http://schemas.microsoft.com/office/drawing/2014/main" id="{79B219FF-6FC4-478C-A631-69B45BFFA9E6}"/>
              </a:ext>
            </a:extLst>
          </p:cNvPr>
          <p:cNvSpPr>
            <a:spLocks noGrp="1"/>
          </p:cNvSpPr>
          <p:nvPr>
            <p:ph sz="quarter" idx="13"/>
          </p:nvPr>
        </p:nvSpPr>
        <p:spPr/>
        <p:txBody>
          <a:bodyPr/>
          <a:lstStyle/>
          <a:p>
            <a:endParaRPr lang="en-US"/>
          </a:p>
        </p:txBody>
      </p:sp>
      <p:graphicFrame>
        <p:nvGraphicFramePr>
          <p:cNvPr id="4" name="Table 3">
            <a:extLst>
              <a:ext uri="{FF2B5EF4-FFF2-40B4-BE49-F238E27FC236}">
                <a16:creationId xmlns:a16="http://schemas.microsoft.com/office/drawing/2014/main" id="{8A8460B2-DE01-4CBD-ADD6-1EC270DCE8E1}"/>
              </a:ext>
            </a:extLst>
          </p:cNvPr>
          <p:cNvGraphicFramePr>
            <a:graphicFrameLocks noGrp="1"/>
          </p:cNvGraphicFramePr>
          <p:nvPr>
            <p:extLst>
              <p:ext uri="{D42A27DB-BD31-4B8C-83A1-F6EECF244321}">
                <p14:modId xmlns:p14="http://schemas.microsoft.com/office/powerpoint/2010/main" val="3257222041"/>
              </p:ext>
            </p:extLst>
          </p:nvPr>
        </p:nvGraphicFramePr>
        <p:xfrm>
          <a:off x="655637" y="1408114"/>
          <a:ext cx="10880726" cy="4819649"/>
        </p:xfrm>
        <a:graphic>
          <a:graphicData uri="http://schemas.openxmlformats.org/drawingml/2006/table">
            <a:tbl>
              <a:tblPr firstRow="1" bandRow="1"/>
              <a:tblGrid>
                <a:gridCol w="2326378">
                  <a:extLst>
                    <a:ext uri="{9D8B030D-6E8A-4147-A177-3AD203B41FA5}">
                      <a16:colId xmlns:a16="http://schemas.microsoft.com/office/drawing/2014/main" val="3059389043"/>
                    </a:ext>
                  </a:extLst>
                </a:gridCol>
                <a:gridCol w="4133588">
                  <a:extLst>
                    <a:ext uri="{9D8B030D-6E8A-4147-A177-3AD203B41FA5}">
                      <a16:colId xmlns:a16="http://schemas.microsoft.com/office/drawing/2014/main" val="2258520605"/>
                    </a:ext>
                  </a:extLst>
                </a:gridCol>
                <a:gridCol w="4420760">
                  <a:extLst>
                    <a:ext uri="{9D8B030D-6E8A-4147-A177-3AD203B41FA5}">
                      <a16:colId xmlns:a16="http://schemas.microsoft.com/office/drawing/2014/main" val="2226927222"/>
                    </a:ext>
                  </a:extLst>
                </a:gridCol>
              </a:tblGrid>
              <a:tr h="865065">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endParaRPr lang="es-ES" sz="2400" dirty="0"/>
                    </a:p>
                  </a:txBody>
                  <a:tcPr anchor="ctr">
                    <a:lnL w="12700" cmpd="sng">
                      <a:solidFill>
                        <a:srgbClr val="0078D7"/>
                      </a:solid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s-ES" sz="2400" dirty="0"/>
                        <a:t>Data </a:t>
                      </a:r>
                      <a:r>
                        <a:rPr lang="es-ES" sz="2400" dirty="0" err="1"/>
                        <a:t>Sync</a:t>
                      </a:r>
                      <a:endParaRPr lang="es-ES" sz="2400" dirty="0"/>
                    </a:p>
                  </a:txBody>
                  <a:tcPr anchor="ctr">
                    <a:lnL>
                      <a:no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es-ES" sz="2400" u="none" strike="noStrike" kern="1200" dirty="0" err="1">
                          <a:effectLst/>
                        </a:rPr>
                        <a:t>Transactional</a:t>
                      </a:r>
                      <a:r>
                        <a:rPr lang="es-ES" sz="2400" u="none" strike="noStrike" kern="1200" dirty="0">
                          <a:effectLst/>
                        </a:rPr>
                        <a:t> </a:t>
                      </a:r>
                      <a:r>
                        <a:rPr lang="es-ES" sz="2400" u="none" strike="noStrike" kern="1200" dirty="0" err="1">
                          <a:effectLst/>
                        </a:rPr>
                        <a:t>Replication</a:t>
                      </a:r>
                      <a:endParaRPr lang="es-ES" sz="2400" dirty="0"/>
                    </a:p>
                  </a:txBody>
                  <a:tcPr anchor="ctr">
                    <a:lnL>
                      <a:no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64563139"/>
                  </a:ext>
                </a:extLst>
              </a:tr>
              <a:tr h="197729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32742" rtl="0" eaLnBrk="1" latinLnBrk="0" hangingPunct="1"/>
                      <a:r>
                        <a:rPr lang="es-ES" sz="2400" kern="1200" dirty="0" err="1"/>
                        <a:t>Advantages</a:t>
                      </a:r>
                      <a:endParaRPr lang="es-ES" sz="2400" b="1" kern="1200" dirty="0">
                        <a:solidFill>
                          <a:srgbClr val="002050"/>
                        </a:solidFill>
                        <a:latin typeface="+mn-lt"/>
                        <a:ea typeface="+mn-ea"/>
                        <a:cs typeface="+mn-cs"/>
                      </a:endParaRPr>
                    </a:p>
                  </a:txBody>
                  <a:tcPr>
                    <a:lnL w="12700" cmpd="sng">
                      <a:solidFill>
                        <a:srgbClr val="0078D7"/>
                      </a:solid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342900" indent="-342900">
                        <a:buFont typeface="Arial" panose="020B0604020202020204" pitchFamily="34" charset="0"/>
                        <a:buChar char="•"/>
                      </a:pPr>
                      <a:r>
                        <a:rPr lang="en-US" sz="2400" u="none" strike="noStrike" kern="1200" dirty="0">
                          <a:effectLst/>
                        </a:rPr>
                        <a:t>Active-active support.</a:t>
                      </a:r>
                    </a:p>
                    <a:p>
                      <a:pPr marL="342900" indent="-342900">
                        <a:buFont typeface="Arial" panose="020B0604020202020204" pitchFamily="34" charset="0"/>
                        <a:buChar char="•"/>
                      </a:pPr>
                      <a:r>
                        <a:rPr lang="en-US" sz="2400" u="none" strike="noStrike" kern="1200" dirty="0">
                          <a:effectLst/>
                        </a:rPr>
                        <a:t>Bi-directional between on-premises and Azure SQL Database.</a:t>
                      </a:r>
                      <a:endParaRPr lang="es-ES" sz="2400" dirty="0"/>
                    </a:p>
                  </a:txBody>
                  <a:tcPr>
                    <a:lnL>
                      <a:no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342900" indent="-342900">
                        <a:buFont typeface="Arial" panose="020B0604020202020204" pitchFamily="34" charset="0"/>
                        <a:buChar char="•"/>
                      </a:pPr>
                      <a:r>
                        <a:rPr lang="en-US" sz="2400" u="none" strike="noStrike" kern="1200" dirty="0">
                          <a:effectLst/>
                        </a:rPr>
                        <a:t>Lower latency.</a:t>
                      </a:r>
                    </a:p>
                    <a:p>
                      <a:pPr marL="342900" indent="-342900">
                        <a:buFont typeface="Arial" panose="020B0604020202020204" pitchFamily="34" charset="0"/>
                        <a:buChar char="•"/>
                      </a:pPr>
                      <a:r>
                        <a:rPr lang="en-US" sz="2400" u="none" strike="noStrike" kern="1200" dirty="0">
                          <a:effectLst/>
                        </a:rPr>
                        <a:t>Transactional consistency.</a:t>
                      </a:r>
                    </a:p>
                    <a:p>
                      <a:pPr marL="342900" indent="-342900">
                        <a:buFont typeface="Arial" panose="020B0604020202020204" pitchFamily="34" charset="0"/>
                        <a:buChar char="•"/>
                      </a:pPr>
                      <a:r>
                        <a:rPr lang="en-US" sz="2400" u="none" strike="noStrike" kern="1200" dirty="0">
                          <a:effectLst/>
                        </a:rPr>
                        <a:t>Reuse existing topology after migration.</a:t>
                      </a:r>
                      <a:endParaRPr lang="es-ES" sz="2400" dirty="0"/>
                    </a:p>
                  </a:txBody>
                  <a:tcPr>
                    <a:lnL>
                      <a:no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tint val="20000"/>
                      </a:srgbClr>
                    </a:solidFill>
                  </a:tcPr>
                </a:tc>
                <a:extLst>
                  <a:ext uri="{0D108BD9-81ED-4DB2-BD59-A6C34878D82A}">
                    <a16:rowId xmlns:a16="http://schemas.microsoft.com/office/drawing/2014/main" val="3681601128"/>
                  </a:ext>
                </a:extLst>
              </a:tr>
              <a:tr h="197729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32742" rtl="0" eaLnBrk="1" latinLnBrk="0" hangingPunct="1"/>
                      <a:r>
                        <a:rPr lang="es-ES" sz="2400" kern="1200" dirty="0" err="1"/>
                        <a:t>Disadvantages</a:t>
                      </a:r>
                      <a:endParaRPr lang="es-ES" sz="2400" b="1" kern="1200" dirty="0">
                        <a:solidFill>
                          <a:srgbClr val="002050"/>
                        </a:solidFill>
                        <a:latin typeface="+mn-lt"/>
                        <a:ea typeface="+mn-ea"/>
                        <a:cs typeface="+mn-cs"/>
                      </a:endParaRPr>
                    </a:p>
                  </a:txBody>
                  <a:tcPr>
                    <a:lnL w="12700" cmpd="sng">
                      <a:solidFill>
                        <a:srgbClr val="0078D7"/>
                      </a:solid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342900" indent="-342900">
                        <a:buFont typeface="Arial" panose="020B0604020202020204" pitchFamily="34" charset="0"/>
                        <a:buChar char="•"/>
                      </a:pPr>
                      <a:r>
                        <a:rPr lang="en-US" sz="2400" u="none" strike="noStrike" kern="1200" dirty="0">
                          <a:effectLst/>
                        </a:rPr>
                        <a:t>5 min or more latency.</a:t>
                      </a:r>
                    </a:p>
                    <a:p>
                      <a:pPr marL="342900" indent="-342900">
                        <a:buFont typeface="Arial" panose="020B0604020202020204" pitchFamily="34" charset="0"/>
                        <a:buChar char="•"/>
                      </a:pPr>
                      <a:r>
                        <a:rPr lang="en-US" sz="2400" u="none" strike="noStrike" kern="1200" dirty="0">
                          <a:effectLst/>
                        </a:rPr>
                        <a:t>No transactional consistency.</a:t>
                      </a:r>
                    </a:p>
                    <a:p>
                      <a:pPr marL="342900" indent="-342900">
                        <a:buFont typeface="Arial" panose="020B0604020202020204" pitchFamily="34" charset="0"/>
                        <a:buChar char="•"/>
                      </a:pPr>
                      <a:r>
                        <a:rPr lang="en-US" sz="2400" u="none" strike="noStrike" kern="1200" dirty="0">
                          <a:effectLst/>
                        </a:rPr>
                        <a:t>Higher performance impact.</a:t>
                      </a:r>
                      <a:endParaRPr lang="es-ES" sz="2400" dirty="0"/>
                    </a:p>
                  </a:txBody>
                  <a:tcPr>
                    <a:lnL>
                      <a:noFill/>
                    </a:lnL>
                    <a:lnR>
                      <a:no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342900" indent="-342900">
                        <a:buFont typeface="Arial" panose="020B0604020202020204" pitchFamily="34" charset="0"/>
                        <a:buChar char="•"/>
                      </a:pPr>
                      <a:r>
                        <a:rPr lang="en-US" sz="2400" u="none" strike="noStrike" kern="1200" dirty="0">
                          <a:effectLst/>
                        </a:rPr>
                        <a:t>Can’t publish from Azure SQL Database single database or pooled database.</a:t>
                      </a:r>
                    </a:p>
                    <a:p>
                      <a:pPr marL="342900" indent="-342900">
                        <a:buFont typeface="Arial" panose="020B0604020202020204" pitchFamily="34" charset="0"/>
                        <a:buChar char="•"/>
                      </a:pPr>
                      <a:r>
                        <a:rPr lang="en-US" sz="2400" u="none" strike="noStrike" kern="1200" dirty="0">
                          <a:effectLst/>
                        </a:rPr>
                        <a:t>High maintenance cost.</a:t>
                      </a:r>
                      <a:endParaRPr lang="es-ES" sz="2400" dirty="0"/>
                    </a:p>
                  </a:txBody>
                  <a:tcPr>
                    <a:lnL>
                      <a:no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07663287"/>
                  </a:ext>
                </a:extLst>
              </a:tr>
            </a:tbl>
          </a:graphicData>
        </a:graphic>
      </p:graphicFrame>
    </p:spTree>
    <p:extLst>
      <p:ext uri="{BB962C8B-B14F-4D97-AF65-F5344CB8AC3E}">
        <p14:creationId xmlns:p14="http://schemas.microsoft.com/office/powerpoint/2010/main" val="11524580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When to use SQL Data Sync</a:t>
            </a:r>
          </a:p>
        </p:txBody>
      </p:sp>
      <p:graphicFrame>
        <p:nvGraphicFramePr>
          <p:cNvPr id="4" name="Content Placeholder 3">
            <a:extLst>
              <a:ext uri="{FF2B5EF4-FFF2-40B4-BE49-F238E27FC236}">
                <a16:creationId xmlns:a16="http://schemas.microsoft.com/office/drawing/2014/main" id="{0A9431A1-8C9F-4A54-BFE0-9635E2C6D74A}"/>
              </a:ext>
            </a:extLst>
          </p:cNvPr>
          <p:cNvGraphicFramePr>
            <a:graphicFrameLocks noGrp="1"/>
          </p:cNvGraphicFramePr>
          <p:nvPr>
            <p:ph sz="quarter" idx="13"/>
            <p:extLst>
              <p:ext uri="{D42A27DB-BD31-4B8C-83A1-F6EECF244321}">
                <p14:modId xmlns:p14="http://schemas.microsoft.com/office/powerpoint/2010/main" val="299040180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8443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8421D680-6214-4AD7-925C-C7270298FD07}"/>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DF390113-BE25-4349-BF38-3689C6DD2EEE}"/>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graphicEl>
                                              <a:dgm id="{2CC985EF-7B24-45C1-AA38-7F956649A7D0}"/>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graphicEl>
                                              <a:dgm id="{1582B8B0-E3AD-44F9-A993-0348D1369488}"/>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B02BCC9C-1B2A-4FD3-BC42-CBB25E499C90}"/>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graphicEl>
                                              <a:dgm id="{24A9C8E0-C6A7-47E7-BAF1-313B19FCA47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Best Practices</a:t>
            </a:r>
          </a:p>
        </p:txBody>
      </p:sp>
      <p:graphicFrame>
        <p:nvGraphicFramePr>
          <p:cNvPr id="4" name="Diagram 3">
            <a:extLst>
              <a:ext uri="{FF2B5EF4-FFF2-40B4-BE49-F238E27FC236}">
                <a16:creationId xmlns:a16="http://schemas.microsoft.com/office/drawing/2014/main" id="{33D6C512-F71A-49D9-8388-4A4DDA44686E}"/>
              </a:ext>
            </a:extLst>
          </p:cNvPr>
          <p:cNvGraphicFramePr/>
          <p:nvPr>
            <p:extLst>
              <p:ext uri="{D42A27DB-BD31-4B8C-83A1-F6EECF244321}">
                <p14:modId xmlns:p14="http://schemas.microsoft.com/office/powerpoint/2010/main" val="2118686523"/>
              </p:ext>
            </p:extLst>
          </p:nvPr>
        </p:nvGraphicFramePr>
        <p:xfrm>
          <a:off x="655636" y="1408114"/>
          <a:ext cx="10880725" cy="3925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010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57AA378-B501-46B0-A222-DD214B4B0934}"/>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8F0F55DE-C72D-4C5E-B71B-3F5F589870C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Best Practices (continued)</a:t>
            </a:r>
          </a:p>
        </p:txBody>
      </p:sp>
      <p:graphicFrame>
        <p:nvGraphicFramePr>
          <p:cNvPr id="4" name="Diagram 3">
            <a:extLst>
              <a:ext uri="{FF2B5EF4-FFF2-40B4-BE49-F238E27FC236}">
                <a16:creationId xmlns:a16="http://schemas.microsoft.com/office/drawing/2014/main" id="{962C8F20-6C81-4921-9B85-810A32DFCE12}"/>
              </a:ext>
            </a:extLst>
          </p:cNvPr>
          <p:cNvGraphicFramePr/>
          <p:nvPr>
            <p:extLst>
              <p:ext uri="{D42A27DB-BD31-4B8C-83A1-F6EECF244321}">
                <p14:modId xmlns:p14="http://schemas.microsoft.com/office/powerpoint/2010/main" val="1769152786"/>
              </p:ext>
            </p:extLst>
          </p:nvPr>
        </p:nvGraphicFramePr>
        <p:xfrm>
          <a:off x="655636" y="1283233"/>
          <a:ext cx="10880726" cy="49445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1387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8AB47D91-0E95-49E4-82A9-D034D596F94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6FF616B3-A3C8-4D6C-933D-8FF698909F8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200385FF-DD40-43F6-B5BC-B1DAACE8E92B}"/>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2382CAE7-E715-460E-A67C-9C94532AB3F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wrap="square" anchor="t">
            <a:normAutofit/>
          </a:bodyPr>
          <a:lstStyle/>
          <a:p>
            <a:r>
              <a:rPr lang="en-US"/>
              <a:t>Monitor SQL Data Sync with Azure Monitor logs (I/II)</a:t>
            </a:r>
            <a:endParaRPr lang="en-US" dirty="0"/>
          </a:p>
        </p:txBody>
      </p:sp>
      <p:sp>
        <p:nvSpPr>
          <p:cNvPr id="3" name="Content Placeholder 2">
            <a:extLst>
              <a:ext uri="{FF2B5EF4-FFF2-40B4-BE49-F238E27FC236}">
                <a16:creationId xmlns:a16="http://schemas.microsoft.com/office/drawing/2014/main" id="{79B219FF-6FC4-478C-A631-69B45BFFA9E6}"/>
              </a:ext>
            </a:extLst>
          </p:cNvPr>
          <p:cNvSpPr>
            <a:spLocks noGrp="1"/>
          </p:cNvSpPr>
          <p:nvPr>
            <p:ph sz="quarter" idx="13"/>
          </p:nvPr>
        </p:nvSpPr>
        <p:spPr>
          <a:xfrm>
            <a:off x="8458200" y="1408114"/>
            <a:ext cx="3078164" cy="4819650"/>
          </a:xfrm>
        </p:spPr>
        <p:txBody>
          <a:bodyPr>
            <a:normAutofit/>
          </a:bodyPr>
          <a:lstStyle/>
          <a:p>
            <a:pPr marL="0" indent="0">
              <a:buNone/>
            </a:pPr>
            <a:r>
              <a:rPr lang="en-US" dirty="0"/>
              <a:t>Monitor all your Sync Groups from any of your subscriptions in one place by using a custom Azure Monitor view.</a:t>
            </a:r>
          </a:p>
          <a:p>
            <a:endParaRPr lang="en-US" dirty="0"/>
          </a:p>
        </p:txBody>
      </p:sp>
      <p:pic>
        <p:nvPicPr>
          <p:cNvPr id="4" name="Picture 3">
            <a:extLst>
              <a:ext uri="{FF2B5EF4-FFF2-40B4-BE49-F238E27FC236}">
                <a16:creationId xmlns:a16="http://schemas.microsoft.com/office/drawing/2014/main" id="{F4FC3681-9741-4150-8014-FEA2C2C09544}"/>
              </a:ext>
            </a:extLst>
          </p:cNvPr>
          <p:cNvPicPr>
            <a:picLocks noChangeAspect="1"/>
          </p:cNvPicPr>
          <p:nvPr/>
        </p:nvPicPr>
        <p:blipFill>
          <a:blip r:embed="rId3"/>
          <a:stretch>
            <a:fillRect/>
          </a:stretch>
        </p:blipFill>
        <p:spPr>
          <a:xfrm>
            <a:off x="655636" y="1408114"/>
            <a:ext cx="7439012" cy="3849686"/>
          </a:xfrm>
          <a:prstGeom prst="rect">
            <a:avLst/>
          </a:prstGeom>
          <a:noFill/>
        </p:spPr>
      </p:pic>
    </p:spTree>
    <p:extLst>
      <p:ext uri="{BB962C8B-B14F-4D97-AF65-F5344CB8AC3E}">
        <p14:creationId xmlns:p14="http://schemas.microsoft.com/office/powerpoint/2010/main" val="40933990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Monitor SQL Data Sync with Azure Monitor logs (II/II)</a:t>
            </a:r>
          </a:p>
        </p:txBody>
      </p:sp>
      <p:sp>
        <p:nvSpPr>
          <p:cNvPr id="3" name="Content Placeholder 2">
            <a:extLst>
              <a:ext uri="{FF2B5EF4-FFF2-40B4-BE49-F238E27FC236}">
                <a16:creationId xmlns:a16="http://schemas.microsoft.com/office/drawing/2014/main" id="{79B219FF-6FC4-478C-A631-69B45BFFA9E6}"/>
              </a:ext>
            </a:extLst>
          </p:cNvPr>
          <p:cNvSpPr>
            <a:spLocks noGrp="1"/>
          </p:cNvSpPr>
          <p:nvPr>
            <p:ph sz="quarter" idx="13"/>
          </p:nvPr>
        </p:nvSpPr>
        <p:spPr>
          <a:xfrm>
            <a:off x="655638" y="1408114"/>
            <a:ext cx="10880726" cy="1335086"/>
          </a:xfrm>
        </p:spPr>
        <p:txBody>
          <a:bodyPr/>
          <a:lstStyle/>
          <a:p>
            <a:r>
              <a:rPr lang="en-US" dirty="0"/>
              <a:t>Monitor all your Sync Groups from any of your subscriptions in one place by using a custom Azure Monitor view.</a:t>
            </a:r>
          </a:p>
          <a:p>
            <a:r>
              <a:rPr lang="en-US" dirty="0"/>
              <a:t>It also includes automated email notifications.</a:t>
            </a:r>
          </a:p>
          <a:p>
            <a:endParaRPr lang="en-US" dirty="0"/>
          </a:p>
        </p:txBody>
      </p:sp>
      <p:pic>
        <p:nvPicPr>
          <p:cNvPr id="4" name="Picture 3">
            <a:extLst>
              <a:ext uri="{FF2B5EF4-FFF2-40B4-BE49-F238E27FC236}">
                <a16:creationId xmlns:a16="http://schemas.microsoft.com/office/drawing/2014/main" id="{41099989-CBCF-4E44-97C9-2EB6D6ADA632}"/>
              </a:ext>
            </a:extLst>
          </p:cNvPr>
          <p:cNvPicPr>
            <a:picLocks noChangeAspect="1"/>
          </p:cNvPicPr>
          <p:nvPr/>
        </p:nvPicPr>
        <p:blipFill>
          <a:blip r:embed="rId3"/>
          <a:stretch>
            <a:fillRect/>
          </a:stretch>
        </p:blipFill>
        <p:spPr>
          <a:xfrm>
            <a:off x="1274269" y="2971800"/>
            <a:ext cx="9643462" cy="2715805"/>
          </a:xfrm>
          <a:prstGeom prst="rect">
            <a:avLst/>
          </a:prstGeom>
        </p:spPr>
      </p:pic>
    </p:spTree>
    <p:extLst>
      <p:ext uri="{BB962C8B-B14F-4D97-AF65-F5344CB8AC3E}">
        <p14:creationId xmlns:p14="http://schemas.microsoft.com/office/powerpoint/2010/main" val="4213411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Get an overview of the migration steps. We will discuss these steps further in this modul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How do you set up these monitoring features with Azure Monitor logs?</a:t>
            </a:r>
          </a:p>
        </p:txBody>
      </p:sp>
      <p:graphicFrame>
        <p:nvGraphicFramePr>
          <p:cNvPr id="4" name="Diagram 3">
            <a:extLst>
              <a:ext uri="{FF2B5EF4-FFF2-40B4-BE49-F238E27FC236}">
                <a16:creationId xmlns:a16="http://schemas.microsoft.com/office/drawing/2014/main" id="{78C7C9F5-B052-432D-8272-895A1D93C49A}"/>
              </a:ext>
            </a:extLst>
          </p:cNvPr>
          <p:cNvGraphicFramePr/>
          <p:nvPr>
            <p:extLst>
              <p:ext uri="{D42A27DB-BD31-4B8C-83A1-F6EECF244321}">
                <p14:modId xmlns:p14="http://schemas.microsoft.com/office/powerpoint/2010/main" val="1583229085"/>
              </p:ext>
            </p:extLst>
          </p:nvPr>
        </p:nvGraphicFramePr>
        <p:xfrm>
          <a:off x="655637" y="1752600"/>
          <a:ext cx="10880725" cy="198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3137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BF9615A-9CFF-4E9A-AD3E-96B7E38500E3}"/>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23EFD39C-7C00-4474-8F50-6B6A0F4C0F2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dirty="0"/>
              <a:t>Setup Azure SQL Data Sync</a:t>
            </a:r>
          </a:p>
          <a:p>
            <a:r>
              <a:rPr lang="en-US" dirty="0"/>
              <a:t>Setup Azure SQL Data Sync between on-premises database and Azure SQL Database</a:t>
            </a:r>
          </a:p>
          <a:p>
            <a:pPr>
              <a:buNone/>
            </a:pPr>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7062869"/>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Step 1 – Create Data Sync Group</a:t>
            </a:r>
          </a:p>
        </p:txBody>
      </p:sp>
      <p:graphicFrame>
        <p:nvGraphicFramePr>
          <p:cNvPr id="9" name="Content Placeholder 8">
            <a:extLst>
              <a:ext uri="{FF2B5EF4-FFF2-40B4-BE49-F238E27FC236}">
                <a16:creationId xmlns:a16="http://schemas.microsoft.com/office/drawing/2014/main" id="{F13E3570-616F-4279-82BD-9215C0BF58D2}"/>
              </a:ext>
            </a:extLst>
          </p:cNvPr>
          <p:cNvGraphicFramePr>
            <a:graphicFrameLocks noGrp="1"/>
          </p:cNvGraphicFramePr>
          <p:nvPr>
            <p:ph sz="quarter" idx="13"/>
            <p:extLst>
              <p:ext uri="{D42A27DB-BD31-4B8C-83A1-F6EECF244321}">
                <p14:modId xmlns:p14="http://schemas.microsoft.com/office/powerpoint/2010/main" val="1066677081"/>
              </p:ext>
            </p:extLst>
          </p:nvPr>
        </p:nvGraphicFramePr>
        <p:xfrm>
          <a:off x="655638" y="1408114"/>
          <a:ext cx="4983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20CF13C2-F433-494E-B3FC-D1DE3DCDE4DE}"/>
              </a:ext>
            </a:extLst>
          </p:cNvPr>
          <p:cNvPicPr>
            <a:picLocks noChangeAspect="1"/>
          </p:cNvPicPr>
          <p:nvPr/>
        </p:nvPicPr>
        <p:blipFill>
          <a:blip r:embed="rId8"/>
          <a:stretch>
            <a:fillRect/>
          </a:stretch>
        </p:blipFill>
        <p:spPr>
          <a:xfrm>
            <a:off x="6861784" y="971576"/>
            <a:ext cx="4501514" cy="5737224"/>
          </a:xfrm>
          <a:prstGeom prst="rect">
            <a:avLst/>
          </a:prstGeom>
        </p:spPr>
      </p:pic>
      <p:pic>
        <p:nvPicPr>
          <p:cNvPr id="5" name="Picture 4">
            <a:extLst>
              <a:ext uri="{FF2B5EF4-FFF2-40B4-BE49-F238E27FC236}">
                <a16:creationId xmlns:a16="http://schemas.microsoft.com/office/drawing/2014/main" id="{B135711E-5359-4826-8492-B488C6CCFE6E}"/>
              </a:ext>
            </a:extLst>
          </p:cNvPr>
          <p:cNvPicPr>
            <a:picLocks noChangeAspect="1"/>
          </p:cNvPicPr>
          <p:nvPr/>
        </p:nvPicPr>
        <p:blipFill>
          <a:blip r:embed="rId9"/>
          <a:stretch>
            <a:fillRect/>
          </a:stretch>
        </p:blipFill>
        <p:spPr>
          <a:xfrm>
            <a:off x="5943171" y="1840822"/>
            <a:ext cx="5868583" cy="3453407"/>
          </a:xfrm>
          <a:prstGeom prst="rect">
            <a:avLst/>
          </a:prstGeom>
        </p:spPr>
      </p:pic>
      <p:pic>
        <p:nvPicPr>
          <p:cNvPr id="6" name="Picture 5">
            <a:extLst>
              <a:ext uri="{FF2B5EF4-FFF2-40B4-BE49-F238E27FC236}">
                <a16:creationId xmlns:a16="http://schemas.microsoft.com/office/drawing/2014/main" id="{B5E5EE86-52FD-4A9B-90AB-1BE95FD657CE}"/>
              </a:ext>
            </a:extLst>
          </p:cNvPr>
          <p:cNvPicPr>
            <a:picLocks noChangeAspect="1"/>
          </p:cNvPicPr>
          <p:nvPr/>
        </p:nvPicPr>
        <p:blipFill>
          <a:blip r:embed="rId10"/>
          <a:stretch>
            <a:fillRect/>
          </a:stretch>
        </p:blipFill>
        <p:spPr>
          <a:xfrm>
            <a:off x="7043899" y="2163788"/>
            <a:ext cx="3667125" cy="2628900"/>
          </a:xfrm>
          <a:prstGeom prst="rect">
            <a:avLst/>
          </a:prstGeom>
        </p:spPr>
      </p:pic>
      <p:pic>
        <p:nvPicPr>
          <p:cNvPr id="7" name="Picture 6">
            <a:extLst>
              <a:ext uri="{FF2B5EF4-FFF2-40B4-BE49-F238E27FC236}">
                <a16:creationId xmlns:a16="http://schemas.microsoft.com/office/drawing/2014/main" id="{B37E24F0-7179-402E-9A96-52D634821F1A}"/>
              </a:ext>
            </a:extLst>
          </p:cNvPr>
          <p:cNvPicPr>
            <a:picLocks noChangeAspect="1"/>
          </p:cNvPicPr>
          <p:nvPr/>
        </p:nvPicPr>
        <p:blipFill>
          <a:blip r:embed="rId11"/>
          <a:stretch>
            <a:fillRect/>
          </a:stretch>
        </p:blipFill>
        <p:spPr>
          <a:xfrm>
            <a:off x="7168317" y="1506910"/>
            <a:ext cx="3676650" cy="3952875"/>
          </a:xfrm>
          <a:prstGeom prst="rect">
            <a:avLst/>
          </a:prstGeom>
        </p:spPr>
      </p:pic>
      <p:pic>
        <p:nvPicPr>
          <p:cNvPr id="8" name="Picture 7">
            <a:extLst>
              <a:ext uri="{FF2B5EF4-FFF2-40B4-BE49-F238E27FC236}">
                <a16:creationId xmlns:a16="http://schemas.microsoft.com/office/drawing/2014/main" id="{1C908811-EF22-4E2E-AB70-CA01B1223FFB}"/>
              </a:ext>
            </a:extLst>
          </p:cNvPr>
          <p:cNvPicPr>
            <a:picLocks noChangeAspect="1"/>
          </p:cNvPicPr>
          <p:nvPr/>
        </p:nvPicPr>
        <p:blipFill>
          <a:blip r:embed="rId12"/>
          <a:stretch>
            <a:fillRect/>
          </a:stretch>
        </p:blipFill>
        <p:spPr>
          <a:xfrm>
            <a:off x="7162800" y="990600"/>
            <a:ext cx="3667125" cy="4581525"/>
          </a:xfrm>
          <a:prstGeom prst="rect">
            <a:avLst/>
          </a:prstGeom>
        </p:spPr>
      </p:pic>
    </p:spTree>
    <p:extLst>
      <p:ext uri="{BB962C8B-B14F-4D97-AF65-F5344CB8AC3E}">
        <p14:creationId xmlns:p14="http://schemas.microsoft.com/office/powerpoint/2010/main" val="596325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graphicEl>
                                              <a:dgm id="{4ABB5002-6139-413C-A65A-0562D0346536}"/>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graphicEl>
                                              <a:dgm id="{0452EC8B-B423-4912-B67D-E9B1FF4CF88D}"/>
                                            </p:graphicEl>
                                          </p:spTgt>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xit" presetSubtype="0" fill="hold" nodeType="withEffect">
                                  <p:stCondLst>
                                    <p:cond delay="0"/>
                                  </p:stCondLst>
                                  <p:childTnLst>
                                    <p:animEffect transition="out" filter="fade">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
                                            <p:graphicEl>
                                              <a:dgm id="{7FF97CFF-E09C-4C15-B58A-4B7EC7B7CE97}"/>
                                            </p:graphicEl>
                                          </p:spTgt>
                                        </p:tgtEl>
                                        <p:attrNameLst>
                                          <p:attrName>style.visibility</p:attrName>
                                        </p:attrNameLst>
                                      </p:cBhvr>
                                      <p:to>
                                        <p:strVal val="visible"/>
                                      </p:to>
                                    </p:se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xit" presetSubtype="0" fill="hold" nodeType="with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9">
                                            <p:graphicEl>
                                              <a:dgm id="{1A39EFB9-52A8-4224-BF0A-CF2D0C567F21}"/>
                                            </p:graphicEl>
                                          </p:spTgt>
                                        </p:tgtEl>
                                        <p:attrNameLst>
                                          <p:attrName>style.visibility</p:attrName>
                                        </p:attrNameLst>
                                      </p:cBhvr>
                                      <p:to>
                                        <p:strVal val="visible"/>
                                      </p:to>
                                    </p:set>
                                  </p:childTnLst>
                                </p:cTn>
                              </p:par>
                              <p:par>
                                <p:cTn id="34" presetID="10" presetClass="entr" presetSubtype="0" fill="hold"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xit" presetSubtype="0" fill="hold" nodeType="withEffect">
                                  <p:stCondLst>
                                    <p:cond delay="0"/>
                                  </p:stCondLst>
                                  <p:childTnLst>
                                    <p:animEffect transition="out" filter="fade">
                                      <p:cBhvr>
                                        <p:cTn id="38" dur="500"/>
                                        <p:tgtEl>
                                          <p:spTgt spid="6"/>
                                        </p:tgtEl>
                                      </p:cBhvr>
                                    </p:animEffect>
                                    <p:set>
                                      <p:cBhvr>
                                        <p:cTn id="39" dur="1" fill="hold">
                                          <p:stCondLst>
                                            <p:cond delay="499"/>
                                          </p:stCondLst>
                                        </p:cTn>
                                        <p:tgtEl>
                                          <p:spTgt spid="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9">
                                            <p:graphicEl>
                                              <a:dgm id="{B8E95EC4-2E39-45A4-8803-F934EF499E23}"/>
                                            </p:graphicEl>
                                          </p:spTgt>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9">
                                            <p:graphicEl>
                                              <a:dgm id="{67DBCD27-2FAA-41D9-ABE0-35A9ED854A8A}"/>
                                            </p:graphicEl>
                                          </p:spTgt>
                                        </p:tgtEl>
                                        <p:attrNameLst>
                                          <p:attrName>style.visibility</p:attrName>
                                        </p:attrNameLst>
                                      </p:cBhvr>
                                      <p:to>
                                        <p:strVal val="visible"/>
                                      </p:to>
                                    </p:set>
                                  </p:childTnLst>
                                </p:cTn>
                              </p:par>
                              <p:par>
                                <p:cTn id="48" presetID="10" presetClass="entr" presetSubtype="0" fill="hold"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xit" presetSubtype="0" fill="hold" nodeType="withEffect">
                                  <p:stCondLst>
                                    <p:cond delay="0"/>
                                  </p:stCondLst>
                                  <p:childTnLst>
                                    <p:animEffect transition="out" filter="fade">
                                      <p:cBhvr>
                                        <p:cTn id="52" dur="500"/>
                                        <p:tgtEl>
                                          <p:spTgt spid="7"/>
                                        </p:tgtEl>
                                      </p:cBhvr>
                                    </p:animEffect>
                                    <p:set>
                                      <p:cBhvr>
                                        <p:cTn id="53"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Step 2 – Add Sync Members – Azure DB</a:t>
            </a:r>
          </a:p>
        </p:txBody>
      </p:sp>
      <p:graphicFrame>
        <p:nvGraphicFramePr>
          <p:cNvPr id="6" name="Content Placeholder 5">
            <a:extLst>
              <a:ext uri="{FF2B5EF4-FFF2-40B4-BE49-F238E27FC236}">
                <a16:creationId xmlns:a16="http://schemas.microsoft.com/office/drawing/2014/main" id="{21D94371-F271-4AFA-B2B8-FE9E24E6DE59}"/>
              </a:ext>
            </a:extLst>
          </p:cNvPr>
          <p:cNvGraphicFramePr>
            <a:graphicFrameLocks noGrp="1"/>
          </p:cNvGraphicFramePr>
          <p:nvPr>
            <p:ph sz="quarter" idx="13"/>
            <p:extLst>
              <p:ext uri="{D42A27DB-BD31-4B8C-83A1-F6EECF244321}">
                <p14:modId xmlns:p14="http://schemas.microsoft.com/office/powerpoint/2010/main" val="3646849850"/>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37F3FE9C-58EF-4086-B0E0-63554847A103}"/>
              </a:ext>
            </a:extLst>
          </p:cNvPr>
          <p:cNvPicPr>
            <a:picLocks noChangeAspect="1"/>
          </p:cNvPicPr>
          <p:nvPr/>
        </p:nvPicPr>
        <p:blipFill>
          <a:blip r:embed="rId8"/>
          <a:stretch>
            <a:fillRect/>
          </a:stretch>
        </p:blipFill>
        <p:spPr>
          <a:xfrm>
            <a:off x="7097712" y="2046288"/>
            <a:ext cx="3676650" cy="2609850"/>
          </a:xfrm>
          <a:prstGeom prst="rect">
            <a:avLst/>
          </a:prstGeom>
        </p:spPr>
      </p:pic>
      <p:pic>
        <p:nvPicPr>
          <p:cNvPr id="5" name="Picture 4">
            <a:extLst>
              <a:ext uri="{FF2B5EF4-FFF2-40B4-BE49-F238E27FC236}">
                <a16:creationId xmlns:a16="http://schemas.microsoft.com/office/drawing/2014/main" id="{B90D3E10-49FC-4D40-9911-31BC405A6E91}"/>
              </a:ext>
            </a:extLst>
          </p:cNvPr>
          <p:cNvPicPr>
            <a:picLocks noChangeAspect="1"/>
          </p:cNvPicPr>
          <p:nvPr/>
        </p:nvPicPr>
        <p:blipFill>
          <a:blip r:embed="rId9"/>
          <a:stretch>
            <a:fillRect/>
          </a:stretch>
        </p:blipFill>
        <p:spPr>
          <a:xfrm>
            <a:off x="7097712" y="1066800"/>
            <a:ext cx="3686175" cy="5448300"/>
          </a:xfrm>
          <a:prstGeom prst="rect">
            <a:avLst/>
          </a:prstGeom>
        </p:spPr>
      </p:pic>
    </p:spTree>
    <p:extLst>
      <p:ext uri="{BB962C8B-B14F-4D97-AF65-F5344CB8AC3E}">
        <p14:creationId xmlns:p14="http://schemas.microsoft.com/office/powerpoint/2010/main" val="2682501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53776B76-1B71-49D2-93DF-AB36F7681FAA}"/>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
                                            <p:graphicEl>
                                              <a:dgm id="{0AAC9DE6-4858-41E1-B8A5-EF02752B5EED}"/>
                                            </p:graphic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childTnLst>
                                </p:cTn>
                              </p:par>
                              <p:par>
                                <p:cTn id="16" presetID="10" presetClass="exit" presetSubtype="0" fill="hold" nodeType="withEffect">
                                  <p:stCondLst>
                                    <p:cond delay="0"/>
                                  </p:stCondLst>
                                  <p:childTnLst>
                                    <p:animEffect transition="out" filter="fad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dgm id="{CF6B6E1B-2A4F-4B51-BFC7-F9CCB87E30AE}"/>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dgm id="{15F90CE9-07BD-429A-AF1A-CC217EC44D7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dgm id="{BB7B1D7A-C4E5-4DED-845A-51DED6E0A20B}"/>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dgm id="{7503DCC2-4CCE-458A-A775-77525FEE6BD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Step 2 – Add Sync Members – On-premises DB</a:t>
            </a:r>
          </a:p>
        </p:txBody>
      </p:sp>
      <p:graphicFrame>
        <p:nvGraphicFramePr>
          <p:cNvPr id="7" name="Content Placeholder 6">
            <a:extLst>
              <a:ext uri="{FF2B5EF4-FFF2-40B4-BE49-F238E27FC236}">
                <a16:creationId xmlns:a16="http://schemas.microsoft.com/office/drawing/2014/main" id="{007F28DE-703B-47A4-8D8A-390E32D952F8}"/>
              </a:ext>
            </a:extLst>
          </p:cNvPr>
          <p:cNvGraphicFramePr>
            <a:graphicFrameLocks noGrp="1"/>
          </p:cNvGraphicFramePr>
          <p:nvPr>
            <p:ph sz="quarter" idx="13"/>
            <p:extLst>
              <p:ext uri="{D42A27DB-BD31-4B8C-83A1-F6EECF244321}">
                <p14:modId xmlns:p14="http://schemas.microsoft.com/office/powerpoint/2010/main" val="433080475"/>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44639B59-5CBF-41F5-8EF5-53E063A689FE}"/>
              </a:ext>
            </a:extLst>
          </p:cNvPr>
          <p:cNvPicPr>
            <a:picLocks noChangeAspect="1"/>
          </p:cNvPicPr>
          <p:nvPr/>
        </p:nvPicPr>
        <p:blipFill>
          <a:blip r:embed="rId8"/>
          <a:stretch>
            <a:fillRect/>
          </a:stretch>
        </p:blipFill>
        <p:spPr>
          <a:xfrm>
            <a:off x="7043737" y="1783605"/>
            <a:ext cx="3695700" cy="4114800"/>
          </a:xfrm>
          <a:prstGeom prst="rect">
            <a:avLst/>
          </a:prstGeom>
        </p:spPr>
      </p:pic>
      <p:pic>
        <p:nvPicPr>
          <p:cNvPr id="5" name="Picture 4">
            <a:extLst>
              <a:ext uri="{FF2B5EF4-FFF2-40B4-BE49-F238E27FC236}">
                <a16:creationId xmlns:a16="http://schemas.microsoft.com/office/drawing/2014/main" id="{174C2EE5-0182-4596-A579-83F3DE4AE2ED}"/>
              </a:ext>
            </a:extLst>
          </p:cNvPr>
          <p:cNvPicPr>
            <a:picLocks noChangeAspect="1"/>
          </p:cNvPicPr>
          <p:nvPr/>
        </p:nvPicPr>
        <p:blipFill>
          <a:blip r:embed="rId9"/>
          <a:stretch>
            <a:fillRect/>
          </a:stretch>
        </p:blipFill>
        <p:spPr>
          <a:xfrm>
            <a:off x="6996112" y="1783605"/>
            <a:ext cx="3743325" cy="4038600"/>
          </a:xfrm>
          <a:prstGeom prst="rect">
            <a:avLst/>
          </a:prstGeom>
        </p:spPr>
      </p:pic>
      <p:pic>
        <p:nvPicPr>
          <p:cNvPr id="6" name="Picture 5">
            <a:extLst>
              <a:ext uri="{FF2B5EF4-FFF2-40B4-BE49-F238E27FC236}">
                <a16:creationId xmlns:a16="http://schemas.microsoft.com/office/drawing/2014/main" id="{DF76A365-0532-44FF-BD74-66C093B90F88}"/>
              </a:ext>
            </a:extLst>
          </p:cNvPr>
          <p:cNvPicPr>
            <a:picLocks noChangeAspect="1"/>
          </p:cNvPicPr>
          <p:nvPr/>
        </p:nvPicPr>
        <p:blipFill>
          <a:blip r:embed="rId10"/>
          <a:stretch>
            <a:fillRect/>
          </a:stretch>
        </p:blipFill>
        <p:spPr>
          <a:xfrm>
            <a:off x="6662737" y="1831230"/>
            <a:ext cx="4457700" cy="4067175"/>
          </a:xfrm>
          <a:prstGeom prst="rect">
            <a:avLst/>
          </a:prstGeom>
        </p:spPr>
      </p:pic>
    </p:spTree>
    <p:extLst>
      <p:ext uri="{BB962C8B-B14F-4D97-AF65-F5344CB8AC3E}">
        <p14:creationId xmlns:p14="http://schemas.microsoft.com/office/powerpoint/2010/main" val="1156296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A256CD89-D669-4F77-A0C4-3C51C2856D98}"/>
                                            </p:graphic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graphicEl>
                                              <a:dgm id="{7BB8495A-FC38-40B0-ACCD-1F8431D3736A}"/>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graphicEl>
                                              <a:dgm id="{2A6F4800-6C5E-4E22-BBC1-CB979BC8F3FD}"/>
                                            </p:graphicEl>
                                          </p:spTgt>
                                        </p:tgtEl>
                                        <p:attrNameLst>
                                          <p:attrName>style.visibility</p:attrName>
                                        </p:attrNameLst>
                                      </p:cBhvr>
                                      <p:to>
                                        <p:strVal val="visible"/>
                                      </p:to>
                                    </p:se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xit" presetSubtype="0" fill="hold" nodeType="withEffect">
                                  <p:stCondLst>
                                    <p:cond delay="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graphicEl>
                                              <a:dgm id="{30EE637C-7067-4544-A430-3DCF3FB49AF1}"/>
                                            </p:graphicEl>
                                          </p:spTgt>
                                        </p:tgtEl>
                                        <p:attrNameLst>
                                          <p:attrName>style.visibility</p:attrName>
                                        </p:attrNameLst>
                                      </p:cBhvr>
                                      <p:to>
                                        <p:strVal val="visible"/>
                                      </p:to>
                                    </p:set>
                                  </p:childTnLst>
                                </p:cTn>
                              </p:par>
                              <p:par>
                                <p:cTn id="27" presetID="10"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xit" presetSubtype="0" fill="hold" nodeType="withEffect">
                                  <p:stCondLst>
                                    <p:cond delay="0"/>
                                  </p:stCondLst>
                                  <p:childTnLst>
                                    <p:animEffect transition="out" filter="fade">
                                      <p:cBhvr>
                                        <p:cTn id="31" dur="500"/>
                                        <p:tgtEl>
                                          <p:spTgt spid="5"/>
                                        </p:tgtEl>
                                      </p:cBhvr>
                                    </p:animEffect>
                                    <p:set>
                                      <p:cBhvr>
                                        <p:cTn id="32" dur="1" fill="hold">
                                          <p:stCondLst>
                                            <p:cond delay="499"/>
                                          </p:stCondLst>
                                        </p:cTn>
                                        <p:tgtEl>
                                          <p:spTgt spid="5"/>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graphicEl>
                                              <a:dgm id="{2A115517-8183-4BC1-98D9-AB34EB7C8A5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Step 2 – Add Sync Members – On-premises DB</a:t>
            </a:r>
          </a:p>
        </p:txBody>
      </p:sp>
      <p:graphicFrame>
        <p:nvGraphicFramePr>
          <p:cNvPr id="9" name="Content Placeholder 8">
            <a:extLst>
              <a:ext uri="{FF2B5EF4-FFF2-40B4-BE49-F238E27FC236}">
                <a16:creationId xmlns:a16="http://schemas.microsoft.com/office/drawing/2014/main" id="{2D9DF789-CABC-4EF4-9B26-088E489815E2}"/>
              </a:ext>
            </a:extLst>
          </p:cNvPr>
          <p:cNvGraphicFramePr>
            <a:graphicFrameLocks noGrp="1"/>
          </p:cNvGraphicFramePr>
          <p:nvPr>
            <p:ph sz="quarter" idx="13"/>
            <p:extLst>
              <p:ext uri="{D42A27DB-BD31-4B8C-83A1-F6EECF244321}">
                <p14:modId xmlns:p14="http://schemas.microsoft.com/office/powerpoint/2010/main" val="2117263922"/>
              </p:ext>
            </p:extLst>
          </p:nvPr>
        </p:nvGraphicFramePr>
        <p:xfrm>
          <a:off x="655639" y="1408114"/>
          <a:ext cx="431623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7F0166BD-BD63-47B5-9A06-510301A345BF}"/>
              </a:ext>
            </a:extLst>
          </p:cNvPr>
          <p:cNvPicPr>
            <a:picLocks noChangeAspect="1"/>
          </p:cNvPicPr>
          <p:nvPr/>
        </p:nvPicPr>
        <p:blipFill>
          <a:blip r:embed="rId8"/>
          <a:stretch>
            <a:fillRect/>
          </a:stretch>
        </p:blipFill>
        <p:spPr>
          <a:xfrm>
            <a:off x="5187098" y="1443983"/>
            <a:ext cx="6377237" cy="5020378"/>
          </a:xfrm>
          <a:prstGeom prst="rect">
            <a:avLst/>
          </a:prstGeom>
        </p:spPr>
      </p:pic>
      <p:pic>
        <p:nvPicPr>
          <p:cNvPr id="5" name="Picture 4">
            <a:extLst>
              <a:ext uri="{FF2B5EF4-FFF2-40B4-BE49-F238E27FC236}">
                <a16:creationId xmlns:a16="http://schemas.microsoft.com/office/drawing/2014/main" id="{4CB70398-AE0E-4CCF-9E40-FD177AC18B4C}"/>
              </a:ext>
            </a:extLst>
          </p:cNvPr>
          <p:cNvPicPr>
            <a:picLocks noChangeAspect="1"/>
          </p:cNvPicPr>
          <p:nvPr/>
        </p:nvPicPr>
        <p:blipFill>
          <a:blip r:embed="rId9"/>
          <a:stretch>
            <a:fillRect/>
          </a:stretch>
        </p:blipFill>
        <p:spPr>
          <a:xfrm>
            <a:off x="5187098" y="2463212"/>
            <a:ext cx="6592461" cy="2981920"/>
          </a:xfrm>
          <a:prstGeom prst="rect">
            <a:avLst/>
          </a:prstGeom>
        </p:spPr>
      </p:pic>
      <p:pic>
        <p:nvPicPr>
          <p:cNvPr id="6" name="Picture 5">
            <a:extLst>
              <a:ext uri="{FF2B5EF4-FFF2-40B4-BE49-F238E27FC236}">
                <a16:creationId xmlns:a16="http://schemas.microsoft.com/office/drawing/2014/main" id="{134B2E13-0FFD-44C8-A48D-4238644141C0}"/>
              </a:ext>
            </a:extLst>
          </p:cNvPr>
          <p:cNvPicPr>
            <a:picLocks noChangeAspect="1"/>
          </p:cNvPicPr>
          <p:nvPr/>
        </p:nvPicPr>
        <p:blipFill>
          <a:blip r:embed="rId10"/>
          <a:stretch>
            <a:fillRect/>
          </a:stretch>
        </p:blipFill>
        <p:spPr>
          <a:xfrm>
            <a:off x="5187098" y="2460000"/>
            <a:ext cx="6592460" cy="2981920"/>
          </a:xfrm>
          <a:prstGeom prst="rect">
            <a:avLst/>
          </a:prstGeom>
        </p:spPr>
      </p:pic>
      <p:pic>
        <p:nvPicPr>
          <p:cNvPr id="7" name="Picture 6">
            <a:extLst>
              <a:ext uri="{FF2B5EF4-FFF2-40B4-BE49-F238E27FC236}">
                <a16:creationId xmlns:a16="http://schemas.microsoft.com/office/drawing/2014/main" id="{57A8EA5C-2217-40AE-9930-1803FF530196}"/>
              </a:ext>
            </a:extLst>
          </p:cNvPr>
          <p:cNvPicPr>
            <a:picLocks noChangeAspect="1"/>
          </p:cNvPicPr>
          <p:nvPr/>
        </p:nvPicPr>
        <p:blipFill>
          <a:blip r:embed="rId11"/>
          <a:stretch>
            <a:fillRect/>
          </a:stretch>
        </p:blipFill>
        <p:spPr>
          <a:xfrm>
            <a:off x="5187097" y="1440771"/>
            <a:ext cx="6377237" cy="5020378"/>
          </a:xfrm>
          <a:prstGeom prst="rect">
            <a:avLst/>
          </a:prstGeom>
        </p:spPr>
      </p:pic>
      <p:pic>
        <p:nvPicPr>
          <p:cNvPr id="8" name="Picture 7">
            <a:extLst>
              <a:ext uri="{FF2B5EF4-FFF2-40B4-BE49-F238E27FC236}">
                <a16:creationId xmlns:a16="http://schemas.microsoft.com/office/drawing/2014/main" id="{E599AD78-8D80-42F7-AB94-E6B6A5343F31}"/>
              </a:ext>
            </a:extLst>
          </p:cNvPr>
          <p:cNvPicPr>
            <a:picLocks noChangeAspect="1"/>
          </p:cNvPicPr>
          <p:nvPr/>
        </p:nvPicPr>
        <p:blipFill>
          <a:blip r:embed="rId12"/>
          <a:stretch>
            <a:fillRect/>
          </a:stretch>
        </p:blipFill>
        <p:spPr>
          <a:xfrm>
            <a:off x="5867400" y="2002796"/>
            <a:ext cx="5016629" cy="4132262"/>
          </a:xfrm>
          <a:prstGeom prst="rect">
            <a:avLst/>
          </a:prstGeom>
        </p:spPr>
      </p:pic>
    </p:spTree>
    <p:extLst>
      <p:ext uri="{BB962C8B-B14F-4D97-AF65-F5344CB8AC3E}">
        <p14:creationId xmlns:p14="http://schemas.microsoft.com/office/powerpoint/2010/main" val="714767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graphicEl>
                                              <a:dgm id="{A1A34299-8FC7-45CE-9E5E-51C8A87654C5}"/>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graphicEl>
                                              <a:dgm id="{33608BBB-2961-44AB-B75C-0CB2FEA9AE59}"/>
                                            </p:graphic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9">
                                            <p:graphicEl>
                                              <a:dgm id="{70C8FB59-E95E-4E01-AD1E-3B0A62CD8B47}"/>
                                            </p:graphicEl>
                                          </p:spTgt>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xit" presetSubtype="0" fill="hold" nodeType="withEffect">
                                  <p:stCondLst>
                                    <p:cond delay="0"/>
                                  </p:stCondLst>
                                  <p:childTnLst>
                                    <p:animEffect transition="out" filter="fade">
                                      <p:cBhvr>
                                        <p:cTn id="22" dur="500"/>
                                        <p:tgtEl>
                                          <p:spTgt spid="4"/>
                                        </p:tgtEl>
                                      </p:cBhvr>
                                    </p:animEffect>
                                    <p:set>
                                      <p:cBhvr>
                                        <p:cTn id="23" dur="1" fill="hold">
                                          <p:stCondLst>
                                            <p:cond delay="499"/>
                                          </p:stCondLst>
                                        </p:cTn>
                                        <p:tgtEl>
                                          <p:spTgt spid="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9">
                                            <p:graphicEl>
                                              <a:dgm id="{75100B2C-E764-4308-B9EB-4D9C2DBD4578}"/>
                                            </p:graphicEl>
                                          </p:spTgt>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xit" presetSubtype="0" fill="hold" nodeType="withEffect">
                                  <p:stCondLst>
                                    <p:cond delay="0"/>
                                  </p:stCondLst>
                                  <p:childTnLst>
                                    <p:animEffect transition="out" filter="fad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graphicEl>
                                              <a:dgm id="{A1988505-8ED0-44BB-960D-E93D0DFA1248}"/>
                                            </p:graphicEl>
                                          </p:spTgt>
                                        </p:tgtEl>
                                        <p:attrNameLst>
                                          <p:attrName>style.visibility</p:attrName>
                                        </p:attrNameLst>
                                      </p:cBhvr>
                                      <p:to>
                                        <p:strVal val="visible"/>
                                      </p:to>
                                    </p:se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xit" presetSubtype="0" fill="hold" nodeType="with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9">
                                            <p:graphicEl>
                                              <a:dgm id="{19A6EEA0-80D3-442C-9D2D-88CCB3F54294}"/>
                                            </p:graphicEl>
                                          </p:spTgt>
                                        </p:tgtEl>
                                        <p:attrNameLst>
                                          <p:attrName>style.visibility</p:attrName>
                                        </p:attrNameLst>
                                      </p:cBhvr>
                                      <p:to>
                                        <p:strVal val="visible"/>
                                      </p:to>
                                    </p:set>
                                  </p:childTnLst>
                                </p:cTn>
                              </p:par>
                              <p:par>
                                <p:cTn id="48" presetID="10" presetClass="entr" presetSubtype="0" fill="hold"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xit" presetSubtype="0" fill="hold" nodeType="withEffect">
                                  <p:stCondLst>
                                    <p:cond delay="0"/>
                                  </p:stCondLst>
                                  <p:childTnLst>
                                    <p:animEffect transition="out" filter="fade">
                                      <p:cBhvr>
                                        <p:cTn id="52" dur="500"/>
                                        <p:tgtEl>
                                          <p:spTgt spid="7"/>
                                        </p:tgtEl>
                                      </p:cBhvr>
                                    </p:animEffect>
                                    <p:set>
                                      <p:cBhvr>
                                        <p:cTn id="53"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EE15-1521-4A1D-A515-EEE54DD625C5}"/>
              </a:ext>
            </a:extLst>
          </p:cNvPr>
          <p:cNvSpPr>
            <a:spLocks noGrp="1"/>
          </p:cNvSpPr>
          <p:nvPr>
            <p:ph type="title"/>
          </p:nvPr>
        </p:nvSpPr>
        <p:spPr/>
        <p:txBody>
          <a:bodyPr/>
          <a:lstStyle/>
          <a:p>
            <a:r>
              <a:rPr lang="en-US" dirty="0"/>
              <a:t>Step 2 – Add Sync Members – On-premises DB</a:t>
            </a:r>
          </a:p>
        </p:txBody>
      </p:sp>
      <p:graphicFrame>
        <p:nvGraphicFramePr>
          <p:cNvPr id="7" name="Content Placeholder 6">
            <a:extLst>
              <a:ext uri="{FF2B5EF4-FFF2-40B4-BE49-F238E27FC236}">
                <a16:creationId xmlns:a16="http://schemas.microsoft.com/office/drawing/2014/main" id="{222671A8-607B-4EF7-99C9-F99BD41877C5}"/>
              </a:ext>
            </a:extLst>
          </p:cNvPr>
          <p:cNvGraphicFramePr>
            <a:graphicFrameLocks noGrp="1"/>
          </p:cNvGraphicFramePr>
          <p:nvPr>
            <p:ph sz="quarter" idx="13"/>
            <p:extLst>
              <p:ext uri="{D42A27DB-BD31-4B8C-83A1-F6EECF244321}">
                <p14:modId xmlns:p14="http://schemas.microsoft.com/office/powerpoint/2010/main" val="523114216"/>
              </p:ext>
            </p:extLst>
          </p:nvPr>
        </p:nvGraphicFramePr>
        <p:xfrm>
          <a:off x="655638" y="1408114"/>
          <a:ext cx="3459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74936AD7-1F9C-48E0-89B2-8A84BC6DF1D2}"/>
              </a:ext>
            </a:extLst>
          </p:cNvPr>
          <p:cNvPicPr>
            <a:picLocks noChangeAspect="1"/>
          </p:cNvPicPr>
          <p:nvPr/>
        </p:nvPicPr>
        <p:blipFill>
          <a:blip r:embed="rId8"/>
          <a:stretch>
            <a:fillRect/>
          </a:stretch>
        </p:blipFill>
        <p:spPr>
          <a:xfrm>
            <a:off x="4510088" y="1924050"/>
            <a:ext cx="7496175" cy="3095625"/>
          </a:xfrm>
          <a:prstGeom prst="rect">
            <a:avLst/>
          </a:prstGeom>
        </p:spPr>
      </p:pic>
      <p:pic>
        <p:nvPicPr>
          <p:cNvPr id="5" name="Picture 4">
            <a:extLst>
              <a:ext uri="{FF2B5EF4-FFF2-40B4-BE49-F238E27FC236}">
                <a16:creationId xmlns:a16="http://schemas.microsoft.com/office/drawing/2014/main" id="{9D87214C-97E4-4EEB-84A5-9A4B45CCBBC4}"/>
              </a:ext>
            </a:extLst>
          </p:cNvPr>
          <p:cNvPicPr>
            <a:picLocks noChangeAspect="1"/>
          </p:cNvPicPr>
          <p:nvPr/>
        </p:nvPicPr>
        <p:blipFill>
          <a:blip r:embed="rId9"/>
          <a:stretch>
            <a:fillRect/>
          </a:stretch>
        </p:blipFill>
        <p:spPr>
          <a:xfrm>
            <a:off x="6400800" y="1985962"/>
            <a:ext cx="3714750" cy="2971800"/>
          </a:xfrm>
          <a:prstGeom prst="rect">
            <a:avLst/>
          </a:prstGeom>
        </p:spPr>
      </p:pic>
      <p:pic>
        <p:nvPicPr>
          <p:cNvPr id="6" name="Picture 5">
            <a:extLst>
              <a:ext uri="{FF2B5EF4-FFF2-40B4-BE49-F238E27FC236}">
                <a16:creationId xmlns:a16="http://schemas.microsoft.com/office/drawing/2014/main" id="{0351A02E-079B-463C-BB08-A6CF66EC72D9}"/>
              </a:ext>
            </a:extLst>
          </p:cNvPr>
          <p:cNvPicPr>
            <a:picLocks noChangeAspect="1"/>
          </p:cNvPicPr>
          <p:nvPr/>
        </p:nvPicPr>
        <p:blipFill>
          <a:blip r:embed="rId10"/>
          <a:stretch>
            <a:fillRect/>
          </a:stretch>
        </p:blipFill>
        <p:spPr>
          <a:xfrm>
            <a:off x="6400800" y="1985962"/>
            <a:ext cx="3667125" cy="2886075"/>
          </a:xfrm>
          <a:prstGeom prst="rect">
            <a:avLst/>
          </a:prstGeom>
        </p:spPr>
      </p:pic>
    </p:spTree>
    <p:extLst>
      <p:ext uri="{BB962C8B-B14F-4D97-AF65-F5344CB8AC3E}">
        <p14:creationId xmlns:p14="http://schemas.microsoft.com/office/powerpoint/2010/main" val="2719980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C9C99F26-B96C-4A14-AB5A-37CF965A5C6C}"/>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7">
                                            <p:graphicEl>
                                              <a:dgm id="{EC0005C1-8F22-4D4F-940A-AE2BE6F11059}"/>
                                            </p:graphicEl>
                                          </p:spTgt>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xit" presetSubtype="0" fill="hold" nodeType="withEffect">
                                  <p:stCondLst>
                                    <p:cond delay="0"/>
                                  </p:stCondLst>
                                  <p:childTnLst>
                                    <p:animEffect transition="out" filter="fade">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graphicEl>
                                              <a:dgm id="{D5946851-9879-4060-B94A-0985DCD7898B}"/>
                                            </p:graphicEl>
                                          </p:spTgt>
                                        </p:tgtEl>
                                        <p:attrNameLst>
                                          <p:attrName>style.visibility</p:attrName>
                                        </p:attrNameLst>
                                      </p:cBhvr>
                                      <p:to>
                                        <p:strVal val="visible"/>
                                      </p:to>
                                    </p:se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xit" presetSubtype="0" fill="hold" nodeType="with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7">
                                            <p:graphicEl>
                                              <a:dgm id="{F3933ED3-92CF-4D95-8920-7004DB62532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ep 3 – Configure sync group</a:t>
            </a:r>
          </a:p>
        </p:txBody>
      </p:sp>
      <p:graphicFrame>
        <p:nvGraphicFramePr>
          <p:cNvPr id="7" name="Content Placeholder 6">
            <a:extLst>
              <a:ext uri="{FF2B5EF4-FFF2-40B4-BE49-F238E27FC236}">
                <a16:creationId xmlns:a16="http://schemas.microsoft.com/office/drawing/2014/main" id="{772E7799-0799-479A-B770-FAFFC499EE8F}"/>
              </a:ext>
            </a:extLst>
          </p:cNvPr>
          <p:cNvGraphicFramePr>
            <a:graphicFrameLocks noGrp="1"/>
          </p:cNvGraphicFramePr>
          <p:nvPr>
            <p:ph sz="quarter" idx="13"/>
            <p:extLst>
              <p:ext uri="{D42A27DB-BD31-4B8C-83A1-F6EECF244321}">
                <p14:modId xmlns:p14="http://schemas.microsoft.com/office/powerpoint/2010/main" val="3136959672"/>
              </p:ext>
            </p:extLst>
          </p:nvPr>
        </p:nvGraphicFramePr>
        <p:xfrm>
          <a:off x="655638" y="1408114"/>
          <a:ext cx="3840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5C1B9403-EAEB-486A-BB2E-2A3D5D6303FF}"/>
              </a:ext>
            </a:extLst>
          </p:cNvPr>
          <p:cNvPicPr>
            <a:picLocks noChangeAspect="1"/>
          </p:cNvPicPr>
          <p:nvPr/>
        </p:nvPicPr>
        <p:blipFill>
          <a:blip r:embed="rId8"/>
          <a:stretch>
            <a:fillRect/>
          </a:stretch>
        </p:blipFill>
        <p:spPr>
          <a:xfrm>
            <a:off x="5690949" y="2500933"/>
            <a:ext cx="5583476" cy="1828800"/>
          </a:xfrm>
          <a:prstGeom prst="rect">
            <a:avLst/>
          </a:prstGeom>
        </p:spPr>
      </p:pic>
      <p:pic>
        <p:nvPicPr>
          <p:cNvPr id="6" name="Picture 5">
            <a:extLst>
              <a:ext uri="{FF2B5EF4-FFF2-40B4-BE49-F238E27FC236}">
                <a16:creationId xmlns:a16="http://schemas.microsoft.com/office/drawing/2014/main" id="{04B4471B-0417-4DE9-A121-A73B5D9C8242}"/>
              </a:ext>
            </a:extLst>
          </p:cNvPr>
          <p:cNvPicPr>
            <a:picLocks noChangeAspect="1"/>
          </p:cNvPicPr>
          <p:nvPr/>
        </p:nvPicPr>
        <p:blipFill>
          <a:blip r:embed="rId9"/>
          <a:stretch>
            <a:fillRect/>
          </a:stretch>
        </p:blipFill>
        <p:spPr>
          <a:xfrm>
            <a:off x="4953000" y="1296918"/>
            <a:ext cx="6982603" cy="4924315"/>
          </a:xfrm>
          <a:prstGeom prst="rect">
            <a:avLst/>
          </a:prstGeom>
        </p:spPr>
      </p:pic>
    </p:spTree>
    <p:extLst>
      <p:ext uri="{BB962C8B-B14F-4D97-AF65-F5344CB8AC3E}">
        <p14:creationId xmlns:p14="http://schemas.microsoft.com/office/powerpoint/2010/main" val="480316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B5860A5C-A967-4532-8C17-EE43933208A8}"/>
                                            </p:graphic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7">
                                            <p:graphicEl>
                                              <a:dgm id="{8BEC1294-290D-40EE-BC02-2C71CD3C6658}"/>
                                            </p:graphicEl>
                                          </p:spTgt>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xit" presetSubtype="0" fill="hold" nodeType="withEffect">
                                  <p:stCondLst>
                                    <p:cond delay="0"/>
                                  </p:stCondLst>
                                  <p:childTnLst>
                                    <p:animEffect transition="out" filter="fade">
                                      <p:cBhvr>
                                        <p:cTn id="18" dur="500"/>
                                        <p:tgtEl>
                                          <p:spTgt spid="5"/>
                                        </p:tgtEl>
                                      </p:cBhvr>
                                    </p:animEffect>
                                    <p:set>
                                      <p:cBhvr>
                                        <p:cTn id="19" dur="1" fill="hold">
                                          <p:stCondLst>
                                            <p:cond delay="499"/>
                                          </p:stCondLst>
                                        </p:cTn>
                                        <p:tgtEl>
                                          <p:spTgt spid="5"/>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graphicEl>
                                              <a:dgm id="{788569F0-4CB7-444E-BBE4-6B6829661BF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etup Azure SQL Data Sync (if time permit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Setup Azure SQL Data Sync between Azure SQL Database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624912330"/>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685642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DF95C-850C-4836-975A-DEBE62E2CE5A}"/>
              </a:ext>
            </a:extLst>
          </p:cNvPr>
          <p:cNvSpPr>
            <a:spLocks noGrp="1"/>
          </p:cNvSpPr>
          <p:nvPr>
            <p:ph type="title"/>
          </p:nvPr>
        </p:nvSpPr>
        <p:spPr/>
        <p:txBody>
          <a:bodyPr/>
          <a:lstStyle/>
          <a:p>
            <a:r>
              <a:rPr lang="en-US" dirty="0"/>
              <a:t>Migration of SQL Server to Azure - Overview</a:t>
            </a:r>
          </a:p>
        </p:txBody>
      </p:sp>
      <p:sp>
        <p:nvSpPr>
          <p:cNvPr id="111" name="Rectangle 110">
            <a:extLst>
              <a:ext uri="{FF2B5EF4-FFF2-40B4-BE49-F238E27FC236}">
                <a16:creationId xmlns:a16="http://schemas.microsoft.com/office/drawing/2014/main" id="{DF8A0DC8-FD73-46ED-8566-3B2933B4FCA9}"/>
              </a:ext>
            </a:extLst>
          </p:cNvPr>
          <p:cNvSpPr/>
          <p:nvPr/>
        </p:nvSpPr>
        <p:spPr bwMode="auto">
          <a:xfrm>
            <a:off x="629067" y="3895118"/>
            <a:ext cx="5310724" cy="568964"/>
          </a:xfrm>
          <a:prstGeom prst="rect">
            <a:avLst/>
          </a:prstGeom>
          <a:solidFill>
            <a:srgbClr val="505050">
              <a:lumMod val="65000"/>
              <a:lumOff val="35000"/>
            </a:srgbClr>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GB"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2" name="Arrow: Pentagon 111">
            <a:extLst>
              <a:ext uri="{FF2B5EF4-FFF2-40B4-BE49-F238E27FC236}">
                <a16:creationId xmlns:a16="http://schemas.microsoft.com/office/drawing/2014/main" id="{CEA07DC2-966A-4F4D-BB13-A19FD963C664}"/>
              </a:ext>
            </a:extLst>
          </p:cNvPr>
          <p:cNvSpPr/>
          <p:nvPr/>
        </p:nvSpPr>
        <p:spPr bwMode="auto">
          <a:xfrm>
            <a:off x="5977647" y="3894119"/>
            <a:ext cx="5871659" cy="573578"/>
          </a:xfrm>
          <a:prstGeom prst="homePlat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a:extLst>
              <a:ext uri="{FF2B5EF4-FFF2-40B4-BE49-F238E27FC236}">
                <a16:creationId xmlns:a16="http://schemas.microsoft.com/office/drawing/2014/main" id="{3F8A750B-31AE-4204-A1E5-4A0ED8850CF0}"/>
              </a:ext>
            </a:extLst>
          </p:cNvPr>
          <p:cNvSpPr/>
          <p:nvPr/>
        </p:nvSpPr>
        <p:spPr>
          <a:xfrm>
            <a:off x="2112720" y="5665756"/>
            <a:ext cx="1436005" cy="545591"/>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2008 +</a:t>
            </a:r>
          </a:p>
        </p:txBody>
      </p:sp>
      <p:sp>
        <p:nvSpPr>
          <p:cNvPr id="114" name="Cylinder 113">
            <a:extLst>
              <a:ext uri="{FF2B5EF4-FFF2-40B4-BE49-F238E27FC236}">
                <a16:creationId xmlns:a16="http://schemas.microsoft.com/office/drawing/2014/main" id="{4E2FE92E-93F5-4CEC-8E5C-F6835D7DC90B}"/>
              </a:ext>
            </a:extLst>
          </p:cNvPr>
          <p:cNvSpPr/>
          <p:nvPr/>
        </p:nvSpPr>
        <p:spPr bwMode="auto">
          <a:xfrm>
            <a:off x="2636741" y="5060010"/>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sp>
        <p:nvSpPr>
          <p:cNvPr id="115" name="Rectangle 114">
            <a:extLst>
              <a:ext uri="{FF2B5EF4-FFF2-40B4-BE49-F238E27FC236}">
                <a16:creationId xmlns:a16="http://schemas.microsoft.com/office/drawing/2014/main" id="{C31A3194-B40E-4951-932C-1EDA8937404F}"/>
              </a:ext>
            </a:extLst>
          </p:cNvPr>
          <p:cNvSpPr/>
          <p:nvPr/>
        </p:nvSpPr>
        <p:spPr>
          <a:xfrm>
            <a:off x="3530397" y="5665756"/>
            <a:ext cx="1436005" cy="545591"/>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lt; 2005</a:t>
            </a:r>
          </a:p>
        </p:txBody>
      </p:sp>
      <p:sp>
        <p:nvSpPr>
          <p:cNvPr id="116" name="Cylinder 115">
            <a:extLst>
              <a:ext uri="{FF2B5EF4-FFF2-40B4-BE49-F238E27FC236}">
                <a16:creationId xmlns:a16="http://schemas.microsoft.com/office/drawing/2014/main" id="{0923BB4F-08EC-4AF9-9B94-998E93D148BE}"/>
              </a:ext>
            </a:extLst>
          </p:cNvPr>
          <p:cNvSpPr/>
          <p:nvPr/>
        </p:nvSpPr>
        <p:spPr bwMode="auto">
          <a:xfrm>
            <a:off x="4029437" y="5060010"/>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cxnSp>
        <p:nvCxnSpPr>
          <p:cNvPr id="117" name="Straight Connector 116">
            <a:extLst>
              <a:ext uri="{FF2B5EF4-FFF2-40B4-BE49-F238E27FC236}">
                <a16:creationId xmlns:a16="http://schemas.microsoft.com/office/drawing/2014/main" id="{859E2C17-6C70-4D32-841D-13D8F5A27F8E}"/>
              </a:ext>
            </a:extLst>
          </p:cNvPr>
          <p:cNvCxnSpPr>
            <a:cxnSpLocks/>
          </p:cNvCxnSpPr>
          <p:nvPr/>
        </p:nvCxnSpPr>
        <p:spPr>
          <a:xfrm flipH="1">
            <a:off x="3311274" y="5331742"/>
            <a:ext cx="474901" cy="0"/>
          </a:xfrm>
          <a:prstGeom prst="line">
            <a:avLst/>
          </a:prstGeom>
          <a:noFill/>
          <a:ln w="28575" cap="flat" cmpd="sng" algn="ctr">
            <a:solidFill>
              <a:srgbClr val="505050">
                <a:lumMod val="50000"/>
                <a:lumOff val="50000"/>
              </a:srgbClr>
            </a:solidFill>
            <a:prstDash val="solid"/>
            <a:headEnd type="none"/>
            <a:tailEnd type="arrow" w="lg" len="sm"/>
          </a:ln>
          <a:effectLst/>
        </p:spPr>
      </p:cxnSp>
      <p:grpSp>
        <p:nvGrpSpPr>
          <p:cNvPr id="118" name="Group 117">
            <a:extLst>
              <a:ext uri="{FF2B5EF4-FFF2-40B4-BE49-F238E27FC236}">
                <a16:creationId xmlns:a16="http://schemas.microsoft.com/office/drawing/2014/main" id="{B3617911-B5BD-4895-9D8B-3ADA0CAC3131}"/>
              </a:ext>
            </a:extLst>
          </p:cNvPr>
          <p:cNvGrpSpPr/>
          <p:nvPr/>
        </p:nvGrpSpPr>
        <p:grpSpPr>
          <a:xfrm>
            <a:off x="2607908" y="2252476"/>
            <a:ext cx="521901" cy="515919"/>
            <a:chOff x="2711946" y="4655367"/>
            <a:chExt cx="1614844" cy="1596334"/>
          </a:xfrm>
          <a:noFill/>
        </p:grpSpPr>
        <p:sp>
          <p:nvSpPr>
            <p:cNvPr id="119" name="Cylinder 118">
              <a:extLst>
                <a:ext uri="{FF2B5EF4-FFF2-40B4-BE49-F238E27FC236}">
                  <a16:creationId xmlns:a16="http://schemas.microsoft.com/office/drawing/2014/main" id="{BCCCEAA8-F0C6-4FE3-87F2-32262F627A28}"/>
                </a:ext>
              </a:extLst>
            </p:cNvPr>
            <p:cNvSpPr/>
            <p:nvPr/>
          </p:nvSpPr>
          <p:spPr bwMode="auto">
            <a:xfrm>
              <a:off x="2711946" y="4655367"/>
              <a:ext cx="1043831" cy="1371348"/>
            </a:xfrm>
            <a:prstGeom prst="can">
              <a:avLst>
                <a:gd name="adj" fmla="val 39530"/>
              </a:avLst>
            </a:prstGeom>
            <a:grpFill/>
            <a:ln w="12700" cap="flat" cmpd="sng" algn="ctr">
              <a:solidFill>
                <a:srgbClr val="002050"/>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SQL</a:t>
              </a:r>
            </a:p>
          </p:txBody>
        </p:sp>
        <p:sp>
          <p:nvSpPr>
            <p:cNvPr id="120" name="Freeform 146">
              <a:extLst>
                <a:ext uri="{FF2B5EF4-FFF2-40B4-BE49-F238E27FC236}">
                  <a16:creationId xmlns:a16="http://schemas.microsoft.com/office/drawing/2014/main" id="{EB95A213-6659-4C5B-A5A7-A6AA7E353811}"/>
                </a:ext>
              </a:extLst>
            </p:cNvPr>
            <p:cNvSpPr>
              <a:spLocks noChangeAspect="1"/>
            </p:cNvSpPr>
            <p:nvPr/>
          </p:nvSpPr>
          <p:spPr bwMode="white">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FFFFFF"/>
            </a:solidFill>
            <a:ln w="12700" cap="flat" cmpd="sng" algn="ctr">
              <a:solidFill>
                <a:srgbClr val="002050"/>
              </a:solidFill>
              <a:prstDash val="solid"/>
              <a:miter lim="800000"/>
              <a:headEnd type="none" w="med" len="med"/>
              <a:tailEnd type="none" w="med" len="med"/>
            </a:ln>
            <a:effectLst/>
          </p:spPr>
          <p:txBody>
            <a:bodyPr rot="0" spcFirstLastPara="0" vert="horz" wrap="square" lIns="182802" tIns="146241" rIns="182802" bIns="14624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IN" sz="1836" b="1"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endParaRPr>
            </a:p>
          </p:txBody>
        </p:sp>
      </p:grpSp>
      <p:sp>
        <p:nvSpPr>
          <p:cNvPr id="121" name="Freeform 5">
            <a:extLst>
              <a:ext uri="{FF2B5EF4-FFF2-40B4-BE49-F238E27FC236}">
                <a16:creationId xmlns:a16="http://schemas.microsoft.com/office/drawing/2014/main" id="{675DE395-E5AB-4186-B6EC-B40F262A1973}"/>
              </a:ext>
            </a:extLst>
          </p:cNvPr>
          <p:cNvSpPr>
            <a:spLocks noChangeAspect="1"/>
          </p:cNvSpPr>
          <p:nvPr/>
        </p:nvSpPr>
        <p:spPr bwMode="auto">
          <a:xfrm>
            <a:off x="789506" y="1808380"/>
            <a:ext cx="1272805" cy="820911"/>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38100">
            <a:solidFill>
              <a:srgbClr val="0078D7"/>
            </a:solidFill>
          </a:ln>
        </p:spPr>
        <p:txBody>
          <a:bodyPr vert="horz" wrap="square" lIns="87817" tIns="43908" rIns="87817" bIns="43908" numCol="1" anchor="t" anchorCtr="0" compatLnSpc="1">
            <a:prstTxWarp prst="textNoShape">
              <a:avLst/>
            </a:prstTxWarp>
          </a:bodyPr>
          <a:lstStyle/>
          <a:p>
            <a:pPr algn="ctr" defTabSz="877895">
              <a:defRPr/>
            </a:pPr>
            <a:endParaRPr lang="en-US" sz="1428" kern="0" dirty="0">
              <a:gradFill>
                <a:gsLst>
                  <a:gs pos="17699">
                    <a:srgbClr val="B4009E"/>
                  </a:gs>
                  <a:gs pos="100000">
                    <a:srgbClr val="B4009E"/>
                  </a:gs>
                </a:gsLst>
                <a:lin ang="5400000" scaled="1"/>
              </a:gradFill>
              <a:latin typeface="Segoe UI Light"/>
            </a:endParaRPr>
          </a:p>
        </p:txBody>
      </p:sp>
      <p:sp>
        <p:nvSpPr>
          <p:cNvPr id="122" name="building_5" title="Icon of tall buildings">
            <a:extLst>
              <a:ext uri="{FF2B5EF4-FFF2-40B4-BE49-F238E27FC236}">
                <a16:creationId xmlns:a16="http://schemas.microsoft.com/office/drawing/2014/main" id="{1E19026D-9D68-4945-9648-D86CACD91278}"/>
              </a:ext>
            </a:extLst>
          </p:cNvPr>
          <p:cNvSpPr>
            <a:spLocks noChangeAspect="1" noEditPoints="1"/>
          </p:cNvSpPr>
          <p:nvPr/>
        </p:nvSpPr>
        <p:spPr bwMode="auto">
          <a:xfrm>
            <a:off x="1087251" y="4834896"/>
            <a:ext cx="891389" cy="898201"/>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28575">
            <a:solidFill>
              <a:srgbClr val="00BCF2">
                <a:lumMod val="75000"/>
              </a:srgbClr>
            </a:solidFill>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light"/>
            </a:endParaRPr>
          </a:p>
        </p:txBody>
      </p:sp>
      <p:sp>
        <p:nvSpPr>
          <p:cNvPr id="123" name="Rectangle 122">
            <a:extLst>
              <a:ext uri="{FF2B5EF4-FFF2-40B4-BE49-F238E27FC236}">
                <a16:creationId xmlns:a16="http://schemas.microsoft.com/office/drawing/2014/main" id="{08FA893E-C7C7-422B-A5E8-386DFF1E623D}"/>
              </a:ext>
            </a:extLst>
          </p:cNvPr>
          <p:cNvSpPr/>
          <p:nvPr/>
        </p:nvSpPr>
        <p:spPr>
          <a:xfrm>
            <a:off x="2112719" y="2825640"/>
            <a:ext cx="1436005" cy="545591"/>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Azure SQL DB</a:t>
            </a:r>
          </a:p>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PaaS)</a:t>
            </a:r>
          </a:p>
        </p:txBody>
      </p:sp>
      <p:sp>
        <p:nvSpPr>
          <p:cNvPr id="124" name="Freeform 96">
            <a:extLst>
              <a:ext uri="{FF2B5EF4-FFF2-40B4-BE49-F238E27FC236}">
                <a16:creationId xmlns:a16="http://schemas.microsoft.com/office/drawing/2014/main" id="{DB9D55EF-35B7-4620-B784-07365982BFA6}"/>
              </a:ext>
            </a:extLst>
          </p:cNvPr>
          <p:cNvSpPr>
            <a:spLocks noChangeAspect="1" noEditPoints="1"/>
          </p:cNvSpPr>
          <p:nvPr/>
        </p:nvSpPr>
        <p:spPr bwMode="auto">
          <a:xfrm>
            <a:off x="1897675" y="3976423"/>
            <a:ext cx="379887" cy="349783"/>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light"/>
            </a:endParaRPr>
          </a:p>
        </p:txBody>
      </p:sp>
      <p:sp>
        <p:nvSpPr>
          <p:cNvPr id="125" name="Rectangle 124">
            <a:extLst>
              <a:ext uri="{FF2B5EF4-FFF2-40B4-BE49-F238E27FC236}">
                <a16:creationId xmlns:a16="http://schemas.microsoft.com/office/drawing/2014/main" id="{3A1FDF60-FBEF-4086-992E-6F0F0042B152}"/>
              </a:ext>
            </a:extLst>
          </p:cNvPr>
          <p:cNvSpPr/>
          <p:nvPr/>
        </p:nvSpPr>
        <p:spPr bwMode="auto">
          <a:xfrm>
            <a:off x="1867108" y="3890814"/>
            <a:ext cx="3557259" cy="5475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2730" tIns="0" rIns="0" bIns="0" numCol="1" spcCol="0" rtlCol="0" fromWordArt="0" anchor="ctr" anchorCtr="0" forceAA="0" compatLnSpc="1">
            <a:prstTxWarp prst="textNoShape">
              <a:avLst/>
            </a:prstTxWarp>
            <a:noAutofit/>
          </a:bodyPr>
          <a:lstStyle/>
          <a:p>
            <a:pPr marL="291380" indent="-291380" defTabSz="950663" fontAlgn="base">
              <a:spcBef>
                <a:spcPct val="0"/>
              </a:spcBef>
              <a:spcAft>
                <a:spcPct val="0"/>
              </a:spcAft>
              <a:buFont typeface="Arial" panose="020B0604020202020204" pitchFamily="34" charset="0"/>
              <a:buChar char="•"/>
              <a:defRPr/>
            </a:pPr>
            <a:r>
              <a:rPr lang="en-US" sz="1428" b="1"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Database Migration Assistant</a:t>
            </a:r>
          </a:p>
          <a:p>
            <a:pPr marL="291380" indent="-291380" defTabSz="950663" fontAlgn="base">
              <a:spcBef>
                <a:spcPct val="0"/>
              </a:spcBef>
              <a:spcAft>
                <a:spcPct val="0"/>
              </a:spcAft>
              <a:buFont typeface="Arial" panose="020B0604020202020204" pitchFamily="34" charset="0"/>
              <a:buChar char="•"/>
              <a:defRPr/>
            </a:pPr>
            <a:r>
              <a:rPr lang="en-US" sz="1428" b="1"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Database Migration Service</a:t>
            </a:r>
          </a:p>
        </p:txBody>
      </p:sp>
      <p:sp>
        <p:nvSpPr>
          <p:cNvPr id="126" name="Cylinder 125">
            <a:extLst>
              <a:ext uri="{FF2B5EF4-FFF2-40B4-BE49-F238E27FC236}">
                <a16:creationId xmlns:a16="http://schemas.microsoft.com/office/drawing/2014/main" id="{9180B5D1-3A2B-4EEC-A4AC-5502236CB297}"/>
              </a:ext>
            </a:extLst>
          </p:cNvPr>
          <p:cNvSpPr/>
          <p:nvPr/>
        </p:nvSpPr>
        <p:spPr bwMode="auto">
          <a:xfrm>
            <a:off x="4005790" y="2279813"/>
            <a:ext cx="389389" cy="511565"/>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r>
              <a:rPr lang="en-US" sz="918" dirty="0">
                <a:solidFill>
                  <a:srgbClr val="0078D7"/>
                </a:solidFill>
                <a:ea typeface="Segoe UI" panose="020B0502040204020203" pitchFamily="34" charset="0"/>
                <a:cs typeface="Segoe UI" panose="020B0502040204020203" pitchFamily="34" charset="0"/>
              </a:rPr>
              <a:t>SQL</a:t>
            </a:r>
          </a:p>
        </p:txBody>
      </p:sp>
      <p:sp>
        <p:nvSpPr>
          <p:cNvPr id="127" name="Rectangle 126">
            <a:extLst>
              <a:ext uri="{FF2B5EF4-FFF2-40B4-BE49-F238E27FC236}">
                <a16:creationId xmlns:a16="http://schemas.microsoft.com/office/drawing/2014/main" id="{8BD8B99B-D171-450B-BA00-2D9A1828D867}"/>
              </a:ext>
            </a:extLst>
          </p:cNvPr>
          <p:cNvSpPr/>
          <p:nvPr/>
        </p:nvSpPr>
        <p:spPr>
          <a:xfrm>
            <a:off x="3529060" y="2825640"/>
            <a:ext cx="1436005" cy="545591"/>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IaaS)</a:t>
            </a:r>
          </a:p>
        </p:txBody>
      </p:sp>
      <p:pic>
        <p:nvPicPr>
          <p:cNvPr id="130" name="Picture 129">
            <a:extLst>
              <a:ext uri="{FF2B5EF4-FFF2-40B4-BE49-F238E27FC236}">
                <a16:creationId xmlns:a16="http://schemas.microsoft.com/office/drawing/2014/main" id="{A232FE0A-5E34-40CF-A880-7D70168D71ED}"/>
              </a:ext>
            </a:extLst>
          </p:cNvPr>
          <p:cNvPicPr>
            <a:picLocks noChangeAspect="1"/>
          </p:cNvPicPr>
          <p:nvPr/>
        </p:nvPicPr>
        <p:blipFill>
          <a:blip r:embed="rId3">
            <a:duotone>
              <a:srgbClr val="002050">
                <a:shade val="45000"/>
                <a:satMod val="135000"/>
              </a:srgbClr>
              <a:prstClr val="white"/>
            </a:duotone>
            <a:extLst>
              <a:ext uri="{28A0092B-C50C-407E-A947-70E740481C1C}">
                <a14:useLocalDpi xmlns:a14="http://schemas.microsoft.com/office/drawing/2010/main" val="0"/>
              </a:ext>
            </a:extLst>
          </a:blip>
          <a:stretch>
            <a:fillRect/>
          </a:stretch>
        </p:blipFill>
        <p:spPr>
          <a:xfrm>
            <a:off x="10165237" y="2251138"/>
            <a:ext cx="528243" cy="528243"/>
          </a:xfrm>
          <a:prstGeom prst="rect">
            <a:avLst/>
          </a:prstGeom>
          <a:ln>
            <a:noFill/>
          </a:ln>
        </p:spPr>
      </p:pic>
      <p:pic>
        <p:nvPicPr>
          <p:cNvPr id="131" name="Picture 130">
            <a:extLst>
              <a:ext uri="{FF2B5EF4-FFF2-40B4-BE49-F238E27FC236}">
                <a16:creationId xmlns:a16="http://schemas.microsoft.com/office/drawing/2014/main" id="{E99CDD32-ED34-4464-AD5D-A5ED793195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45520" y="5257800"/>
            <a:ext cx="400427" cy="372917"/>
          </a:xfrm>
          <a:prstGeom prst="rect">
            <a:avLst/>
          </a:prstGeom>
        </p:spPr>
      </p:pic>
      <p:sp>
        <p:nvSpPr>
          <p:cNvPr id="132" name="Rectangle 131">
            <a:extLst>
              <a:ext uri="{FF2B5EF4-FFF2-40B4-BE49-F238E27FC236}">
                <a16:creationId xmlns:a16="http://schemas.microsoft.com/office/drawing/2014/main" id="{B9A5FB48-A905-4796-8B25-B655F468A5A4}"/>
              </a:ext>
            </a:extLst>
          </p:cNvPr>
          <p:cNvSpPr/>
          <p:nvPr/>
        </p:nvSpPr>
        <p:spPr>
          <a:xfrm>
            <a:off x="9753600" y="5676900"/>
            <a:ext cx="1416355" cy="737699"/>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Reporting Services</a:t>
            </a:r>
          </a:p>
        </p:txBody>
      </p:sp>
      <p:grpSp>
        <p:nvGrpSpPr>
          <p:cNvPr id="133" name="Group 132">
            <a:extLst>
              <a:ext uri="{FF2B5EF4-FFF2-40B4-BE49-F238E27FC236}">
                <a16:creationId xmlns:a16="http://schemas.microsoft.com/office/drawing/2014/main" id="{9E9F336F-F2D3-425C-80B9-446DDED701B3}"/>
              </a:ext>
            </a:extLst>
          </p:cNvPr>
          <p:cNvGrpSpPr/>
          <p:nvPr/>
        </p:nvGrpSpPr>
        <p:grpSpPr>
          <a:xfrm>
            <a:off x="6075439" y="2108191"/>
            <a:ext cx="769875" cy="580065"/>
            <a:chOff x="8482114" y="3862204"/>
            <a:chExt cx="615272" cy="405688"/>
          </a:xfrm>
        </p:grpSpPr>
        <p:grpSp>
          <p:nvGrpSpPr>
            <p:cNvPr id="134" name="Group 133">
              <a:extLst>
                <a:ext uri="{FF2B5EF4-FFF2-40B4-BE49-F238E27FC236}">
                  <a16:creationId xmlns:a16="http://schemas.microsoft.com/office/drawing/2014/main" id="{65B58D96-570A-4C5D-BC38-0B4221C08B76}"/>
                </a:ext>
              </a:extLst>
            </p:cNvPr>
            <p:cNvGrpSpPr/>
            <p:nvPr/>
          </p:nvGrpSpPr>
          <p:grpSpPr>
            <a:xfrm>
              <a:off x="8796730" y="4107134"/>
              <a:ext cx="300656" cy="160758"/>
              <a:chOff x="8796730" y="4107134"/>
              <a:chExt cx="300656" cy="160758"/>
            </a:xfrm>
          </p:grpSpPr>
          <p:sp>
            <p:nvSpPr>
              <p:cNvPr id="136" name="Freeform: Shape 135">
                <a:extLst>
                  <a:ext uri="{FF2B5EF4-FFF2-40B4-BE49-F238E27FC236}">
                    <a16:creationId xmlns:a16="http://schemas.microsoft.com/office/drawing/2014/main" id="{A37E8A00-3E16-43D2-8D88-4B0846F621C3}"/>
                  </a:ext>
                </a:extLst>
              </p:cNvPr>
              <p:cNvSpPr/>
              <p:nvPr/>
            </p:nvSpPr>
            <p:spPr bwMode="auto">
              <a:xfrm>
                <a:off x="8796730" y="4107134"/>
                <a:ext cx="179995" cy="160758"/>
              </a:xfrm>
              <a:custGeom>
                <a:avLst/>
                <a:gdLst>
                  <a:gd name="connsiteX0" fmla="*/ 481954 w 829011"/>
                  <a:gd name="connsiteY0" fmla="*/ 0 h 740411"/>
                  <a:gd name="connsiteX1" fmla="*/ 550812 w 829011"/>
                  <a:gd name="connsiteY1" fmla="*/ 0 h 740411"/>
                  <a:gd name="connsiteX2" fmla="*/ 550811 w 829011"/>
                  <a:gd name="connsiteY2" fmla="*/ 381904 h 740411"/>
                  <a:gd name="connsiteX3" fmla="*/ 829011 w 829011"/>
                  <a:gd name="connsiteY3" fmla="*/ 381904 h 740411"/>
                  <a:gd name="connsiteX4" fmla="*/ 829011 w 829011"/>
                  <a:gd name="connsiteY4" fmla="*/ 740411 h 740411"/>
                  <a:gd name="connsiteX5" fmla="*/ 481954 w 829011"/>
                  <a:gd name="connsiteY5" fmla="*/ 740411 h 740411"/>
                  <a:gd name="connsiteX6" fmla="*/ 310572 w 829011"/>
                  <a:gd name="connsiteY6" fmla="*/ 626811 h 740411"/>
                  <a:gd name="connsiteX7" fmla="*/ 296106 w 829011"/>
                  <a:gd name="connsiteY7" fmla="*/ 555161 h 740411"/>
                  <a:gd name="connsiteX8" fmla="*/ 0 w 829011"/>
                  <a:gd name="connsiteY8" fmla="*/ 555161 h 740411"/>
                  <a:gd name="connsiteX9" fmla="*/ 0 w 829011"/>
                  <a:gd name="connsiteY9" fmla="*/ 207763 h 740411"/>
                  <a:gd name="connsiteX10" fmla="*/ 295955 w 829011"/>
                  <a:gd name="connsiteY10" fmla="*/ 207763 h 740411"/>
                  <a:gd name="connsiteX11" fmla="*/ 295955 w 829011"/>
                  <a:gd name="connsiteY11" fmla="*/ 185999 h 740411"/>
                  <a:gd name="connsiteX12" fmla="*/ 481954 w 829011"/>
                  <a:gd name="connsiteY12" fmla="*/ 0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9011" h="740411">
                    <a:moveTo>
                      <a:pt x="481954" y="0"/>
                    </a:moveTo>
                    <a:lnTo>
                      <a:pt x="550812" y="0"/>
                    </a:lnTo>
                    <a:lnTo>
                      <a:pt x="550811" y="381904"/>
                    </a:lnTo>
                    <a:lnTo>
                      <a:pt x="829011" y="381904"/>
                    </a:lnTo>
                    <a:lnTo>
                      <a:pt x="829011" y="740411"/>
                    </a:lnTo>
                    <a:lnTo>
                      <a:pt x="481954" y="740411"/>
                    </a:lnTo>
                    <a:cubicBezTo>
                      <a:pt x="404911" y="740411"/>
                      <a:pt x="338808" y="693569"/>
                      <a:pt x="310572" y="626811"/>
                    </a:cubicBezTo>
                    <a:lnTo>
                      <a:pt x="296106" y="555161"/>
                    </a:lnTo>
                    <a:lnTo>
                      <a:pt x="0" y="555161"/>
                    </a:lnTo>
                    <a:lnTo>
                      <a:pt x="0" y="207763"/>
                    </a:lnTo>
                    <a:lnTo>
                      <a:pt x="295955" y="207763"/>
                    </a:lnTo>
                    <a:lnTo>
                      <a:pt x="295955" y="185999"/>
                    </a:lnTo>
                    <a:cubicBezTo>
                      <a:pt x="295955" y="83275"/>
                      <a:pt x="379230" y="0"/>
                      <a:pt x="481954" y="0"/>
                    </a:cubicBezTo>
                    <a:close/>
                  </a:path>
                </a:pathLst>
              </a:custGeom>
              <a:noFill/>
              <a:ln w="12700" cap="rnd">
                <a:solidFill>
                  <a:srgbClr val="002050"/>
                </a:solidFill>
                <a:miter lim="800000"/>
                <a:headEnd/>
                <a:tailEnd/>
              </a:ln>
              <a:effectLst/>
            </p:spPr>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7" name="Freeform: Shape 136">
                <a:extLst>
                  <a:ext uri="{FF2B5EF4-FFF2-40B4-BE49-F238E27FC236}">
                    <a16:creationId xmlns:a16="http://schemas.microsoft.com/office/drawing/2014/main" id="{8F73010D-D887-4BC1-A4C4-17896C09526C}"/>
                  </a:ext>
                </a:extLst>
              </p:cNvPr>
              <p:cNvSpPr/>
              <p:nvPr/>
            </p:nvSpPr>
            <p:spPr bwMode="auto">
              <a:xfrm>
                <a:off x="8917391" y="4107134"/>
                <a:ext cx="179995" cy="160758"/>
              </a:xfrm>
              <a:custGeom>
                <a:avLst/>
                <a:gdLst>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278199 w 829011"/>
                  <a:gd name="connsiteY10" fmla="*/ 285351 h 740411"/>
                  <a:gd name="connsiteX11" fmla="*/ 0 w 829011"/>
                  <a:gd name="connsiteY11" fmla="*/ 285351 h 740411"/>
                  <a:gd name="connsiteX12" fmla="*/ 0 w 829011"/>
                  <a:gd name="connsiteY12" fmla="*/ 0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0 w 829011"/>
                  <a:gd name="connsiteY10" fmla="*/ 285351 h 740411"/>
                  <a:gd name="connsiteX11" fmla="*/ 0 w 829011"/>
                  <a:gd name="connsiteY11" fmla="*/ 0 h 740411"/>
                  <a:gd name="connsiteX0" fmla="*/ 0 w 829011"/>
                  <a:gd name="connsiteY0" fmla="*/ 285351 h 740411"/>
                  <a:gd name="connsiteX1" fmla="*/ 0 w 829011"/>
                  <a:gd name="connsiteY1" fmla="*/ 0 h 740411"/>
                  <a:gd name="connsiteX2" fmla="*/ 347056 w 829011"/>
                  <a:gd name="connsiteY2" fmla="*/ 0 h 740411"/>
                  <a:gd name="connsiteX3" fmla="*/ 533055 w 829011"/>
                  <a:gd name="connsiteY3" fmla="*/ 185999 h 740411"/>
                  <a:gd name="connsiteX4" fmla="*/ 533055 w 829011"/>
                  <a:gd name="connsiteY4" fmla="*/ 207763 h 740411"/>
                  <a:gd name="connsiteX5" fmla="*/ 829011 w 829011"/>
                  <a:gd name="connsiteY5" fmla="*/ 207763 h 740411"/>
                  <a:gd name="connsiteX6" fmla="*/ 829011 w 829011"/>
                  <a:gd name="connsiteY6" fmla="*/ 555161 h 740411"/>
                  <a:gd name="connsiteX7" fmla="*/ 532904 w 829011"/>
                  <a:gd name="connsiteY7" fmla="*/ 555161 h 740411"/>
                  <a:gd name="connsiteX8" fmla="*/ 518438 w 829011"/>
                  <a:gd name="connsiteY8" fmla="*/ 626811 h 740411"/>
                  <a:gd name="connsiteX9" fmla="*/ 347056 w 829011"/>
                  <a:gd name="connsiteY9" fmla="*/ 740411 h 740411"/>
                  <a:gd name="connsiteX10" fmla="*/ 278199 w 829011"/>
                  <a:gd name="connsiteY10" fmla="*/ 740411 h 740411"/>
                  <a:gd name="connsiteX11" fmla="*/ 421149 w 829011"/>
                  <a:gd name="connsiteY11"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421149 w 829011"/>
                  <a:gd name="connsiteY10"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011" h="740411">
                    <a:moveTo>
                      <a:pt x="0" y="0"/>
                    </a:moveTo>
                    <a:lnTo>
                      <a:pt x="347056" y="0"/>
                    </a:lnTo>
                    <a:cubicBezTo>
                      <a:pt x="449780" y="0"/>
                      <a:pt x="533055" y="83275"/>
                      <a:pt x="533055" y="185999"/>
                    </a:cubicBezTo>
                    <a:lnTo>
                      <a:pt x="533055" y="207763"/>
                    </a:lnTo>
                    <a:lnTo>
                      <a:pt x="829011" y="207763"/>
                    </a:lnTo>
                    <a:lnTo>
                      <a:pt x="829011" y="555161"/>
                    </a:lnTo>
                    <a:lnTo>
                      <a:pt x="532904" y="555161"/>
                    </a:lnTo>
                    <a:lnTo>
                      <a:pt x="518438" y="626811"/>
                    </a:lnTo>
                    <a:cubicBezTo>
                      <a:pt x="490202" y="693569"/>
                      <a:pt x="424099" y="740411"/>
                      <a:pt x="347056" y="740411"/>
                    </a:cubicBezTo>
                    <a:lnTo>
                      <a:pt x="278199" y="740411"/>
                    </a:lnTo>
                  </a:path>
                </a:pathLst>
              </a:custGeom>
              <a:noFill/>
              <a:ln w="12700" cap="rnd">
                <a:solidFill>
                  <a:srgbClr val="002050"/>
                </a:solidFill>
                <a:miter lim="800000"/>
                <a:headEnd/>
                <a:tailEnd/>
              </a:ln>
              <a:effectLst/>
            </p:spPr>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35" name="Freeform: Shape 134">
              <a:extLst>
                <a:ext uri="{FF2B5EF4-FFF2-40B4-BE49-F238E27FC236}">
                  <a16:creationId xmlns:a16="http://schemas.microsoft.com/office/drawing/2014/main" id="{140EE15C-4E7A-4D1D-ABEA-30914B067B66}"/>
                </a:ext>
              </a:extLst>
            </p:cNvPr>
            <p:cNvSpPr/>
            <p:nvPr/>
          </p:nvSpPr>
          <p:spPr bwMode="auto">
            <a:xfrm>
              <a:off x="8482114" y="3862204"/>
              <a:ext cx="535080" cy="353571"/>
            </a:xfrm>
            <a:custGeom>
              <a:avLst/>
              <a:gdLst>
                <a:gd name="connsiteX0" fmla="*/ 1446378 w 2586496"/>
                <a:gd name="connsiteY0" fmla="*/ 916 h 1685771"/>
                <a:gd name="connsiteX1" fmla="*/ 1594728 w 2586496"/>
                <a:gd name="connsiteY1" fmla="*/ 8720 h 1685771"/>
                <a:gd name="connsiteX2" fmla="*/ 2282132 w 2586496"/>
                <a:gd name="connsiteY2" fmla="*/ 881735 h 1685771"/>
                <a:gd name="connsiteX3" fmla="*/ 2584440 w 2586496"/>
                <a:gd name="connsiteY3" fmla="*/ 1052304 h 1685771"/>
                <a:gd name="connsiteX4" fmla="*/ 2586496 w 2586496"/>
                <a:gd name="connsiteY4" fmla="*/ 1055763 h 1685771"/>
                <a:gd name="connsiteX5" fmla="*/ 1321501 w 2586496"/>
                <a:gd name="connsiteY5" fmla="*/ 1055763 h 1685771"/>
                <a:gd name="connsiteX6" fmla="*/ 1321501 w 2586496"/>
                <a:gd name="connsiteY6" fmla="*/ 1685771 h 1685771"/>
                <a:gd name="connsiteX7" fmla="*/ 577327 w 2586496"/>
                <a:gd name="connsiteY7" fmla="*/ 1685771 h 1685771"/>
                <a:gd name="connsiteX8" fmla="*/ 126 w 2586496"/>
                <a:gd name="connsiteY8" fmla="*/ 1097315 h 1685771"/>
                <a:gd name="connsiteX9" fmla="*/ 740511 w 2586496"/>
                <a:gd name="connsiteY9" fmla="*/ 535645 h 1685771"/>
                <a:gd name="connsiteX10" fmla="*/ 1446378 w 2586496"/>
                <a:gd name="connsiteY10" fmla="*/ 916 h 1685771"/>
                <a:gd name="connsiteX0" fmla="*/ 1321501 w 2586496"/>
                <a:gd name="connsiteY0" fmla="*/ 1055763 h 1685771"/>
                <a:gd name="connsiteX1" fmla="*/ 1321501 w 2586496"/>
                <a:gd name="connsiteY1" fmla="*/ 1685771 h 1685771"/>
                <a:gd name="connsiteX2" fmla="*/ 577327 w 2586496"/>
                <a:gd name="connsiteY2" fmla="*/ 1685771 h 1685771"/>
                <a:gd name="connsiteX3" fmla="*/ 126 w 2586496"/>
                <a:gd name="connsiteY3" fmla="*/ 1097315 h 1685771"/>
                <a:gd name="connsiteX4" fmla="*/ 740511 w 2586496"/>
                <a:gd name="connsiteY4" fmla="*/ 535645 h 1685771"/>
                <a:gd name="connsiteX5" fmla="*/ 1446378 w 2586496"/>
                <a:gd name="connsiteY5" fmla="*/ 916 h 1685771"/>
                <a:gd name="connsiteX6" fmla="*/ 1594728 w 2586496"/>
                <a:gd name="connsiteY6" fmla="*/ 8720 h 1685771"/>
                <a:gd name="connsiteX7" fmla="*/ 2282132 w 2586496"/>
                <a:gd name="connsiteY7" fmla="*/ 881735 h 1685771"/>
                <a:gd name="connsiteX8" fmla="*/ 2584440 w 2586496"/>
                <a:gd name="connsiteY8" fmla="*/ 1052304 h 1685771"/>
                <a:gd name="connsiteX9" fmla="*/ 2586496 w 2586496"/>
                <a:gd name="connsiteY9" fmla="*/ 1055763 h 1685771"/>
                <a:gd name="connsiteX10" fmla="*/ 1412941 w 2586496"/>
                <a:gd name="connsiteY10" fmla="*/ 1147203 h 1685771"/>
                <a:gd name="connsiteX0" fmla="*/ 1321501 w 2586496"/>
                <a:gd name="connsiteY0" fmla="*/ 1055763 h 1685771"/>
                <a:gd name="connsiteX1" fmla="*/ 1321501 w 2586496"/>
                <a:gd name="connsiteY1" fmla="*/ 1685771 h 1685771"/>
                <a:gd name="connsiteX2" fmla="*/ 577327 w 2586496"/>
                <a:gd name="connsiteY2" fmla="*/ 1685771 h 1685771"/>
                <a:gd name="connsiteX3" fmla="*/ 126 w 2586496"/>
                <a:gd name="connsiteY3" fmla="*/ 1097315 h 1685771"/>
                <a:gd name="connsiteX4" fmla="*/ 740511 w 2586496"/>
                <a:gd name="connsiteY4" fmla="*/ 535645 h 1685771"/>
                <a:gd name="connsiteX5" fmla="*/ 1446378 w 2586496"/>
                <a:gd name="connsiteY5" fmla="*/ 916 h 1685771"/>
                <a:gd name="connsiteX6" fmla="*/ 1594728 w 2586496"/>
                <a:gd name="connsiteY6" fmla="*/ 8720 h 1685771"/>
                <a:gd name="connsiteX7" fmla="*/ 2282132 w 2586496"/>
                <a:gd name="connsiteY7" fmla="*/ 881735 h 1685771"/>
                <a:gd name="connsiteX8" fmla="*/ 2584440 w 2586496"/>
                <a:gd name="connsiteY8" fmla="*/ 1052304 h 1685771"/>
                <a:gd name="connsiteX9" fmla="*/ 2586496 w 2586496"/>
                <a:gd name="connsiteY9" fmla="*/ 1055763 h 1685771"/>
                <a:gd name="connsiteX0" fmla="*/ 1321501 w 2586496"/>
                <a:gd name="connsiteY0" fmla="*/ 1685771 h 1685771"/>
                <a:gd name="connsiteX1" fmla="*/ 577327 w 2586496"/>
                <a:gd name="connsiteY1" fmla="*/ 1685771 h 1685771"/>
                <a:gd name="connsiteX2" fmla="*/ 126 w 2586496"/>
                <a:gd name="connsiteY2" fmla="*/ 1097315 h 1685771"/>
                <a:gd name="connsiteX3" fmla="*/ 740511 w 2586496"/>
                <a:gd name="connsiteY3" fmla="*/ 535645 h 1685771"/>
                <a:gd name="connsiteX4" fmla="*/ 1446378 w 2586496"/>
                <a:gd name="connsiteY4" fmla="*/ 916 h 1685771"/>
                <a:gd name="connsiteX5" fmla="*/ 1594728 w 2586496"/>
                <a:gd name="connsiteY5" fmla="*/ 8720 h 1685771"/>
                <a:gd name="connsiteX6" fmla="*/ 2282132 w 2586496"/>
                <a:gd name="connsiteY6" fmla="*/ 881735 h 1685771"/>
                <a:gd name="connsiteX7" fmla="*/ 2584440 w 2586496"/>
                <a:gd name="connsiteY7" fmla="*/ 1052304 h 1685771"/>
                <a:gd name="connsiteX8" fmla="*/ 2586496 w 2586496"/>
                <a:gd name="connsiteY8" fmla="*/ 1055763 h 168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6496" h="1685771">
                  <a:moveTo>
                    <a:pt x="1321501" y="1685771"/>
                  </a:moveTo>
                  <a:lnTo>
                    <a:pt x="577327" y="1685771"/>
                  </a:lnTo>
                  <a:cubicBezTo>
                    <a:pt x="233733" y="1683717"/>
                    <a:pt x="6872" y="1376876"/>
                    <a:pt x="126" y="1097315"/>
                  </a:cubicBezTo>
                  <a:cubicBezTo>
                    <a:pt x="-6619" y="817755"/>
                    <a:pt x="255961" y="381613"/>
                    <a:pt x="740511" y="535645"/>
                  </a:cubicBezTo>
                  <a:cubicBezTo>
                    <a:pt x="812538" y="271480"/>
                    <a:pt x="1105803" y="18010"/>
                    <a:pt x="1446378" y="916"/>
                  </a:cubicBezTo>
                  <a:cubicBezTo>
                    <a:pt x="1495032" y="-1526"/>
                    <a:pt x="1544651" y="856"/>
                    <a:pt x="1594728" y="8720"/>
                  </a:cubicBezTo>
                  <a:cubicBezTo>
                    <a:pt x="2011816" y="74217"/>
                    <a:pt x="2340476" y="471196"/>
                    <a:pt x="2282132" y="881735"/>
                  </a:cubicBezTo>
                  <a:cubicBezTo>
                    <a:pt x="2432326" y="902881"/>
                    <a:pt x="2527123" y="972658"/>
                    <a:pt x="2584440" y="1052304"/>
                  </a:cubicBezTo>
                  <a:lnTo>
                    <a:pt x="2586496" y="1055763"/>
                  </a:lnTo>
                </a:path>
              </a:pathLst>
            </a:custGeom>
            <a:noFill/>
            <a:ln w="12700" cap="flat">
              <a:solidFill>
                <a:srgbClr val="002050"/>
              </a:solidFill>
              <a:miter lim="800000"/>
              <a:headEnd/>
              <a:tailEnd/>
            </a:ln>
            <a:effectLst/>
          </p:spPr>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18251EA7-728F-4970-BB1A-48913F13E3AD}"/>
              </a:ext>
            </a:extLst>
          </p:cNvPr>
          <p:cNvGrpSpPr/>
          <p:nvPr/>
        </p:nvGrpSpPr>
        <p:grpSpPr>
          <a:xfrm>
            <a:off x="6630672" y="5428990"/>
            <a:ext cx="338653" cy="140365"/>
            <a:chOff x="8796730" y="4107134"/>
            <a:chExt cx="300656" cy="160758"/>
          </a:xfrm>
        </p:grpSpPr>
        <p:sp>
          <p:nvSpPr>
            <p:cNvPr id="139" name="Freeform: Shape 138">
              <a:extLst>
                <a:ext uri="{FF2B5EF4-FFF2-40B4-BE49-F238E27FC236}">
                  <a16:creationId xmlns:a16="http://schemas.microsoft.com/office/drawing/2014/main" id="{7FB7D045-1F4F-40C8-B41F-4D6639BBAEAC}"/>
                </a:ext>
              </a:extLst>
            </p:cNvPr>
            <p:cNvSpPr/>
            <p:nvPr/>
          </p:nvSpPr>
          <p:spPr bwMode="auto">
            <a:xfrm>
              <a:off x="8796730" y="4107134"/>
              <a:ext cx="179995" cy="160758"/>
            </a:xfrm>
            <a:custGeom>
              <a:avLst/>
              <a:gdLst>
                <a:gd name="connsiteX0" fmla="*/ 481954 w 829011"/>
                <a:gd name="connsiteY0" fmla="*/ 0 h 740411"/>
                <a:gd name="connsiteX1" fmla="*/ 550812 w 829011"/>
                <a:gd name="connsiteY1" fmla="*/ 0 h 740411"/>
                <a:gd name="connsiteX2" fmla="*/ 550811 w 829011"/>
                <a:gd name="connsiteY2" fmla="*/ 381904 h 740411"/>
                <a:gd name="connsiteX3" fmla="*/ 829011 w 829011"/>
                <a:gd name="connsiteY3" fmla="*/ 381904 h 740411"/>
                <a:gd name="connsiteX4" fmla="*/ 829011 w 829011"/>
                <a:gd name="connsiteY4" fmla="*/ 740411 h 740411"/>
                <a:gd name="connsiteX5" fmla="*/ 481954 w 829011"/>
                <a:gd name="connsiteY5" fmla="*/ 740411 h 740411"/>
                <a:gd name="connsiteX6" fmla="*/ 310572 w 829011"/>
                <a:gd name="connsiteY6" fmla="*/ 626811 h 740411"/>
                <a:gd name="connsiteX7" fmla="*/ 296106 w 829011"/>
                <a:gd name="connsiteY7" fmla="*/ 555161 h 740411"/>
                <a:gd name="connsiteX8" fmla="*/ 0 w 829011"/>
                <a:gd name="connsiteY8" fmla="*/ 555161 h 740411"/>
                <a:gd name="connsiteX9" fmla="*/ 0 w 829011"/>
                <a:gd name="connsiteY9" fmla="*/ 207763 h 740411"/>
                <a:gd name="connsiteX10" fmla="*/ 295955 w 829011"/>
                <a:gd name="connsiteY10" fmla="*/ 207763 h 740411"/>
                <a:gd name="connsiteX11" fmla="*/ 295955 w 829011"/>
                <a:gd name="connsiteY11" fmla="*/ 185999 h 740411"/>
                <a:gd name="connsiteX12" fmla="*/ 481954 w 829011"/>
                <a:gd name="connsiteY12" fmla="*/ 0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9011" h="740411">
                  <a:moveTo>
                    <a:pt x="481954" y="0"/>
                  </a:moveTo>
                  <a:lnTo>
                    <a:pt x="550812" y="0"/>
                  </a:lnTo>
                  <a:lnTo>
                    <a:pt x="550811" y="381904"/>
                  </a:lnTo>
                  <a:lnTo>
                    <a:pt x="829011" y="381904"/>
                  </a:lnTo>
                  <a:lnTo>
                    <a:pt x="829011" y="740411"/>
                  </a:lnTo>
                  <a:lnTo>
                    <a:pt x="481954" y="740411"/>
                  </a:lnTo>
                  <a:cubicBezTo>
                    <a:pt x="404911" y="740411"/>
                    <a:pt x="338808" y="693569"/>
                    <a:pt x="310572" y="626811"/>
                  </a:cubicBezTo>
                  <a:lnTo>
                    <a:pt x="296106" y="555161"/>
                  </a:lnTo>
                  <a:lnTo>
                    <a:pt x="0" y="555161"/>
                  </a:lnTo>
                  <a:lnTo>
                    <a:pt x="0" y="207763"/>
                  </a:lnTo>
                  <a:lnTo>
                    <a:pt x="295955" y="207763"/>
                  </a:lnTo>
                  <a:lnTo>
                    <a:pt x="295955" y="185999"/>
                  </a:lnTo>
                  <a:cubicBezTo>
                    <a:pt x="295955" y="83275"/>
                    <a:pt x="379230" y="0"/>
                    <a:pt x="481954" y="0"/>
                  </a:cubicBezTo>
                  <a:close/>
                </a:path>
              </a:pathLst>
            </a:custGeom>
            <a:noFill/>
            <a:ln w="12700" cap="rnd">
              <a:solidFill>
                <a:srgbClr val="505050">
                  <a:lumMod val="50000"/>
                  <a:lumOff val="50000"/>
                </a:srgbClr>
              </a:solidFill>
              <a:miter lim="800000"/>
              <a:headEnd/>
              <a:tailEnd/>
            </a:ln>
            <a:effectLst/>
          </p:spPr>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0" name="Freeform: Shape 139">
              <a:extLst>
                <a:ext uri="{FF2B5EF4-FFF2-40B4-BE49-F238E27FC236}">
                  <a16:creationId xmlns:a16="http://schemas.microsoft.com/office/drawing/2014/main" id="{AA52B143-0963-4077-A057-1FF1233F3240}"/>
                </a:ext>
              </a:extLst>
            </p:cNvPr>
            <p:cNvSpPr/>
            <p:nvPr/>
          </p:nvSpPr>
          <p:spPr bwMode="auto">
            <a:xfrm>
              <a:off x="8917391" y="4107134"/>
              <a:ext cx="179995" cy="160758"/>
            </a:xfrm>
            <a:custGeom>
              <a:avLst/>
              <a:gdLst>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278199 w 829011"/>
                <a:gd name="connsiteY10" fmla="*/ 285351 h 740411"/>
                <a:gd name="connsiteX11" fmla="*/ 0 w 829011"/>
                <a:gd name="connsiteY11" fmla="*/ 285351 h 740411"/>
                <a:gd name="connsiteX12" fmla="*/ 0 w 829011"/>
                <a:gd name="connsiteY12" fmla="*/ 0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0 w 829011"/>
                <a:gd name="connsiteY10" fmla="*/ 285351 h 740411"/>
                <a:gd name="connsiteX11" fmla="*/ 0 w 829011"/>
                <a:gd name="connsiteY11" fmla="*/ 0 h 740411"/>
                <a:gd name="connsiteX0" fmla="*/ 0 w 829011"/>
                <a:gd name="connsiteY0" fmla="*/ 285351 h 740411"/>
                <a:gd name="connsiteX1" fmla="*/ 0 w 829011"/>
                <a:gd name="connsiteY1" fmla="*/ 0 h 740411"/>
                <a:gd name="connsiteX2" fmla="*/ 347056 w 829011"/>
                <a:gd name="connsiteY2" fmla="*/ 0 h 740411"/>
                <a:gd name="connsiteX3" fmla="*/ 533055 w 829011"/>
                <a:gd name="connsiteY3" fmla="*/ 185999 h 740411"/>
                <a:gd name="connsiteX4" fmla="*/ 533055 w 829011"/>
                <a:gd name="connsiteY4" fmla="*/ 207763 h 740411"/>
                <a:gd name="connsiteX5" fmla="*/ 829011 w 829011"/>
                <a:gd name="connsiteY5" fmla="*/ 207763 h 740411"/>
                <a:gd name="connsiteX6" fmla="*/ 829011 w 829011"/>
                <a:gd name="connsiteY6" fmla="*/ 555161 h 740411"/>
                <a:gd name="connsiteX7" fmla="*/ 532904 w 829011"/>
                <a:gd name="connsiteY7" fmla="*/ 555161 h 740411"/>
                <a:gd name="connsiteX8" fmla="*/ 518438 w 829011"/>
                <a:gd name="connsiteY8" fmla="*/ 626811 h 740411"/>
                <a:gd name="connsiteX9" fmla="*/ 347056 w 829011"/>
                <a:gd name="connsiteY9" fmla="*/ 740411 h 740411"/>
                <a:gd name="connsiteX10" fmla="*/ 278199 w 829011"/>
                <a:gd name="connsiteY10" fmla="*/ 740411 h 740411"/>
                <a:gd name="connsiteX11" fmla="*/ 421149 w 829011"/>
                <a:gd name="connsiteY11"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421149 w 829011"/>
                <a:gd name="connsiteY10"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011" h="740411">
                  <a:moveTo>
                    <a:pt x="0" y="0"/>
                  </a:moveTo>
                  <a:lnTo>
                    <a:pt x="347056" y="0"/>
                  </a:lnTo>
                  <a:cubicBezTo>
                    <a:pt x="449780" y="0"/>
                    <a:pt x="533055" y="83275"/>
                    <a:pt x="533055" y="185999"/>
                  </a:cubicBezTo>
                  <a:lnTo>
                    <a:pt x="533055" y="207763"/>
                  </a:lnTo>
                  <a:lnTo>
                    <a:pt x="829011" y="207763"/>
                  </a:lnTo>
                  <a:lnTo>
                    <a:pt x="829011" y="555161"/>
                  </a:lnTo>
                  <a:lnTo>
                    <a:pt x="532904" y="555161"/>
                  </a:lnTo>
                  <a:lnTo>
                    <a:pt x="518438" y="626811"/>
                  </a:lnTo>
                  <a:cubicBezTo>
                    <a:pt x="490202" y="693569"/>
                    <a:pt x="424099" y="740411"/>
                    <a:pt x="347056" y="740411"/>
                  </a:cubicBezTo>
                  <a:lnTo>
                    <a:pt x="278199" y="740411"/>
                  </a:lnTo>
                </a:path>
              </a:pathLst>
            </a:custGeom>
            <a:noFill/>
            <a:ln w="12700" cap="rnd">
              <a:solidFill>
                <a:srgbClr val="505050">
                  <a:lumMod val="50000"/>
                  <a:lumOff val="50000"/>
                </a:srgbClr>
              </a:solidFill>
              <a:miter lim="800000"/>
              <a:headEnd/>
              <a:tailEnd/>
            </a:ln>
            <a:effectLst/>
          </p:spPr>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41" name="Cylinder 140">
            <a:extLst>
              <a:ext uri="{FF2B5EF4-FFF2-40B4-BE49-F238E27FC236}">
                <a16:creationId xmlns:a16="http://schemas.microsoft.com/office/drawing/2014/main" id="{EB30D987-7275-40F9-AE43-EA7227EAF726}"/>
              </a:ext>
            </a:extLst>
          </p:cNvPr>
          <p:cNvSpPr/>
          <p:nvPr/>
        </p:nvSpPr>
        <p:spPr bwMode="auto">
          <a:xfrm>
            <a:off x="6165784" y="5075960"/>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sp>
        <p:nvSpPr>
          <p:cNvPr id="142" name="Rectangle 141">
            <a:extLst>
              <a:ext uri="{FF2B5EF4-FFF2-40B4-BE49-F238E27FC236}">
                <a16:creationId xmlns:a16="http://schemas.microsoft.com/office/drawing/2014/main" id="{AA794F5B-3126-4E90-8E6B-C51AF3709C08}"/>
              </a:ext>
            </a:extLst>
          </p:cNvPr>
          <p:cNvSpPr/>
          <p:nvPr/>
        </p:nvSpPr>
        <p:spPr>
          <a:xfrm>
            <a:off x="5728567" y="5644368"/>
            <a:ext cx="1436005" cy="737699"/>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 </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Integration Services</a:t>
            </a:r>
          </a:p>
        </p:txBody>
      </p:sp>
      <p:sp>
        <p:nvSpPr>
          <p:cNvPr id="143" name="Rectangle 142">
            <a:extLst>
              <a:ext uri="{FF2B5EF4-FFF2-40B4-BE49-F238E27FC236}">
                <a16:creationId xmlns:a16="http://schemas.microsoft.com/office/drawing/2014/main" id="{F47D9BB4-984C-433F-A43C-7146D6D9DB25}"/>
              </a:ext>
            </a:extLst>
          </p:cNvPr>
          <p:cNvSpPr/>
          <p:nvPr/>
        </p:nvSpPr>
        <p:spPr>
          <a:xfrm>
            <a:off x="5781228" y="2688254"/>
            <a:ext cx="1436005" cy="737699"/>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Data Factory</a:t>
            </a:r>
          </a:p>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SSIS Integration Runtime</a:t>
            </a:r>
          </a:p>
        </p:txBody>
      </p:sp>
      <p:sp>
        <p:nvSpPr>
          <p:cNvPr id="144" name="Rectangle 143">
            <a:extLst>
              <a:ext uri="{FF2B5EF4-FFF2-40B4-BE49-F238E27FC236}">
                <a16:creationId xmlns:a16="http://schemas.microsoft.com/office/drawing/2014/main" id="{4B40D6B0-C727-4957-97DC-D57CD99194D3}"/>
              </a:ext>
            </a:extLst>
          </p:cNvPr>
          <p:cNvSpPr/>
          <p:nvPr/>
        </p:nvSpPr>
        <p:spPr bwMode="auto">
          <a:xfrm>
            <a:off x="7401021" y="3890814"/>
            <a:ext cx="3557259" cy="54755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652730" tIns="0" rIns="0" bIns="0" numCol="1" spcCol="0" rtlCol="0" fromWordArt="0" anchor="ctr" anchorCtr="0" forceAA="0" compatLnSpc="1">
            <a:prstTxWarp prst="textNoShape">
              <a:avLst/>
            </a:prstTxWarp>
            <a:noAutofit/>
          </a:bodyPr>
          <a:lstStyle/>
          <a:p>
            <a:pPr marL="291380" indent="-291380" defTabSz="950663" fontAlgn="base">
              <a:spcBef>
                <a:spcPct val="0"/>
              </a:spcBef>
              <a:spcAft>
                <a:spcPct val="0"/>
              </a:spcAft>
              <a:buFont typeface="Arial" panose="020B0604020202020204" pitchFamily="34" charset="0"/>
              <a:buChar char="•"/>
              <a:defRPr/>
            </a:pPr>
            <a:r>
              <a:rPr lang="en-US" sz="1428" b="1"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Redeploy</a:t>
            </a:r>
          </a:p>
        </p:txBody>
      </p:sp>
      <p:sp>
        <p:nvSpPr>
          <p:cNvPr id="145" name="Freeform 96">
            <a:extLst>
              <a:ext uri="{FF2B5EF4-FFF2-40B4-BE49-F238E27FC236}">
                <a16:creationId xmlns:a16="http://schemas.microsoft.com/office/drawing/2014/main" id="{D13B2BF8-9A57-49F2-B054-FD04F6AD8390}"/>
              </a:ext>
            </a:extLst>
          </p:cNvPr>
          <p:cNvSpPr>
            <a:spLocks noChangeAspect="1" noEditPoints="1"/>
          </p:cNvSpPr>
          <p:nvPr/>
        </p:nvSpPr>
        <p:spPr bwMode="auto">
          <a:xfrm>
            <a:off x="7381208" y="3976423"/>
            <a:ext cx="379887" cy="349783"/>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marL="0" marR="0" lvl="0" indent="0" defTabSz="932239"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light"/>
            </a:endParaRPr>
          </a:p>
        </p:txBody>
      </p:sp>
      <p:sp>
        <p:nvSpPr>
          <p:cNvPr id="146" name="Cylinder 145">
            <a:extLst>
              <a:ext uri="{FF2B5EF4-FFF2-40B4-BE49-F238E27FC236}">
                <a16:creationId xmlns:a16="http://schemas.microsoft.com/office/drawing/2014/main" id="{2E6ABA8D-C917-4D7D-990C-542BA61CA584}"/>
              </a:ext>
            </a:extLst>
          </p:cNvPr>
          <p:cNvSpPr/>
          <p:nvPr/>
        </p:nvSpPr>
        <p:spPr bwMode="auto">
          <a:xfrm>
            <a:off x="7745091" y="5096225"/>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sp>
        <p:nvSpPr>
          <p:cNvPr id="147" name="Rectangle 146">
            <a:extLst>
              <a:ext uri="{FF2B5EF4-FFF2-40B4-BE49-F238E27FC236}">
                <a16:creationId xmlns:a16="http://schemas.microsoft.com/office/drawing/2014/main" id="{D68A2ACD-659A-4A80-8CF1-666C1D0D4806}"/>
              </a:ext>
            </a:extLst>
          </p:cNvPr>
          <p:cNvSpPr/>
          <p:nvPr/>
        </p:nvSpPr>
        <p:spPr>
          <a:xfrm>
            <a:off x="7064361" y="5647584"/>
            <a:ext cx="1685822" cy="804918"/>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Analysis Services</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Cubes</a:t>
            </a:r>
          </a:p>
        </p:txBody>
      </p:sp>
      <p:sp>
        <p:nvSpPr>
          <p:cNvPr id="148" name="Cylinder 147">
            <a:extLst>
              <a:ext uri="{FF2B5EF4-FFF2-40B4-BE49-F238E27FC236}">
                <a16:creationId xmlns:a16="http://schemas.microsoft.com/office/drawing/2014/main" id="{C3FF433A-BBA0-4751-813B-2795DE854213}"/>
              </a:ext>
            </a:extLst>
          </p:cNvPr>
          <p:cNvSpPr/>
          <p:nvPr/>
        </p:nvSpPr>
        <p:spPr bwMode="auto">
          <a:xfrm>
            <a:off x="7651844" y="2184109"/>
            <a:ext cx="389389" cy="511565"/>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r>
              <a:rPr lang="en-US" sz="918" dirty="0">
                <a:solidFill>
                  <a:srgbClr val="0078D7"/>
                </a:solidFill>
                <a:ea typeface="Segoe UI" panose="020B0502040204020203" pitchFamily="34" charset="0"/>
                <a:cs typeface="Segoe UI" panose="020B0502040204020203" pitchFamily="34" charset="0"/>
              </a:rPr>
              <a:t>SQL</a:t>
            </a:r>
          </a:p>
        </p:txBody>
      </p:sp>
      <p:sp>
        <p:nvSpPr>
          <p:cNvPr id="149" name="Rectangle 148">
            <a:extLst>
              <a:ext uri="{FF2B5EF4-FFF2-40B4-BE49-F238E27FC236}">
                <a16:creationId xmlns:a16="http://schemas.microsoft.com/office/drawing/2014/main" id="{5E4AA88C-B5BA-4E28-BF62-773D5727B64E}"/>
              </a:ext>
            </a:extLst>
          </p:cNvPr>
          <p:cNvSpPr/>
          <p:nvPr/>
        </p:nvSpPr>
        <p:spPr>
          <a:xfrm>
            <a:off x="7169085" y="2762891"/>
            <a:ext cx="1436005" cy="545591"/>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IaaS)</a:t>
            </a:r>
          </a:p>
        </p:txBody>
      </p:sp>
      <p:sp>
        <p:nvSpPr>
          <p:cNvPr id="150" name="Cylinder 149">
            <a:extLst>
              <a:ext uri="{FF2B5EF4-FFF2-40B4-BE49-F238E27FC236}">
                <a16:creationId xmlns:a16="http://schemas.microsoft.com/office/drawing/2014/main" id="{66603CB4-2F30-49A1-B20F-485A344862B8}"/>
              </a:ext>
            </a:extLst>
          </p:cNvPr>
          <p:cNvSpPr/>
          <p:nvPr/>
        </p:nvSpPr>
        <p:spPr bwMode="auto">
          <a:xfrm>
            <a:off x="9048369" y="5096225"/>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sp>
        <p:nvSpPr>
          <p:cNvPr id="151" name="Rectangle 150">
            <a:extLst>
              <a:ext uri="{FF2B5EF4-FFF2-40B4-BE49-F238E27FC236}">
                <a16:creationId xmlns:a16="http://schemas.microsoft.com/office/drawing/2014/main" id="{84C7584E-813E-4A47-9FAE-4BFA49086BAA}"/>
              </a:ext>
            </a:extLst>
          </p:cNvPr>
          <p:cNvSpPr/>
          <p:nvPr/>
        </p:nvSpPr>
        <p:spPr>
          <a:xfrm>
            <a:off x="8400154" y="5665756"/>
            <a:ext cx="1685822" cy="804918"/>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SQL Server</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Analysis Services</a:t>
            </a:r>
          </a:p>
          <a:p>
            <a:pPr algn="ctr" defTabSz="724455">
              <a:spcBef>
                <a:spcPct val="0"/>
              </a:spcBef>
              <a:spcAft>
                <a:spcPct val="35000"/>
              </a:spcAft>
              <a:defRPr/>
            </a:pPr>
            <a:r>
              <a:rPr lang="en-US" sz="1224" kern="0" dirty="0">
                <a:solidFill>
                  <a:srgbClr val="000000">
                    <a:lumMod val="50000"/>
                    <a:lumOff val="50000"/>
                  </a:srgbClr>
                </a:solidFill>
                <a:latin typeface="Segoe UI Semibold" panose="020B0702040204020203" pitchFamily="34" charset="0"/>
                <a:cs typeface="Segoe UI Semibold" panose="020B0702040204020203" pitchFamily="34" charset="0"/>
              </a:rPr>
              <a:t>Tabular</a:t>
            </a:r>
          </a:p>
        </p:txBody>
      </p:sp>
      <p:sp>
        <p:nvSpPr>
          <p:cNvPr id="152" name="Rectangle 3">
            <a:extLst>
              <a:ext uri="{FF2B5EF4-FFF2-40B4-BE49-F238E27FC236}">
                <a16:creationId xmlns:a16="http://schemas.microsoft.com/office/drawing/2014/main" id="{862EED47-5243-4593-892F-1D7AB79E5F9E}"/>
              </a:ext>
            </a:extLst>
          </p:cNvPr>
          <p:cNvSpPr/>
          <p:nvPr/>
        </p:nvSpPr>
        <p:spPr bwMode="auto">
          <a:xfrm>
            <a:off x="8211047" y="5364619"/>
            <a:ext cx="237189" cy="222907"/>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noFill/>
          <a:ln w="12700" cap="flat" cmpd="sng" algn="ctr">
            <a:solidFill>
              <a:srgbClr val="505050">
                <a:lumMod val="50000"/>
                <a:lumOff val="50000"/>
              </a:srgbClr>
            </a:solidFill>
            <a:prstDash val="solid"/>
            <a:miter lim="800000"/>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3" name="Rectangle 3">
            <a:extLst>
              <a:ext uri="{FF2B5EF4-FFF2-40B4-BE49-F238E27FC236}">
                <a16:creationId xmlns:a16="http://schemas.microsoft.com/office/drawing/2014/main" id="{674E9A05-C240-4524-A5C4-8C24CB34642B}"/>
              </a:ext>
            </a:extLst>
          </p:cNvPr>
          <p:cNvSpPr/>
          <p:nvPr/>
        </p:nvSpPr>
        <p:spPr bwMode="auto">
          <a:xfrm>
            <a:off x="9514326" y="5421126"/>
            <a:ext cx="237189" cy="222907"/>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noFill/>
          <a:ln w="12700" cap="flat" cmpd="sng" algn="ctr">
            <a:solidFill>
              <a:srgbClr val="505050">
                <a:lumMod val="50000"/>
                <a:lumOff val="50000"/>
              </a:srgbClr>
            </a:solidFill>
            <a:prstDash val="solid"/>
            <a:miter lim="800000"/>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54" name="Picture 153">
            <a:extLst>
              <a:ext uri="{FF2B5EF4-FFF2-40B4-BE49-F238E27FC236}">
                <a16:creationId xmlns:a16="http://schemas.microsoft.com/office/drawing/2014/main" id="{C4E59521-EB6B-46F4-B707-99D0DE65C1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10603" y="2171613"/>
            <a:ext cx="581196" cy="650702"/>
          </a:xfrm>
          <a:prstGeom prst="rect">
            <a:avLst/>
          </a:prstGeom>
        </p:spPr>
      </p:pic>
      <p:sp>
        <p:nvSpPr>
          <p:cNvPr id="155" name="Rectangle 154">
            <a:extLst>
              <a:ext uri="{FF2B5EF4-FFF2-40B4-BE49-F238E27FC236}">
                <a16:creationId xmlns:a16="http://schemas.microsoft.com/office/drawing/2014/main" id="{62D33B3B-26EC-4660-B406-5B1EA57230F7}"/>
              </a:ext>
            </a:extLst>
          </p:cNvPr>
          <p:cNvSpPr/>
          <p:nvPr/>
        </p:nvSpPr>
        <p:spPr>
          <a:xfrm>
            <a:off x="8435367" y="2762891"/>
            <a:ext cx="1436005" cy="478374"/>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Azure Analysis Services</a:t>
            </a:r>
          </a:p>
        </p:txBody>
      </p:sp>
      <p:cxnSp>
        <p:nvCxnSpPr>
          <p:cNvPr id="156" name="Straight Connector 155">
            <a:extLst>
              <a:ext uri="{FF2B5EF4-FFF2-40B4-BE49-F238E27FC236}">
                <a16:creationId xmlns:a16="http://schemas.microsoft.com/office/drawing/2014/main" id="{80604FEA-D375-4505-92B1-6A4DB67DF369}"/>
              </a:ext>
            </a:extLst>
          </p:cNvPr>
          <p:cNvCxnSpPr>
            <a:cxnSpLocks/>
          </p:cNvCxnSpPr>
          <p:nvPr/>
        </p:nvCxnSpPr>
        <p:spPr>
          <a:xfrm flipH="1" flipV="1">
            <a:off x="6436407" y="4642455"/>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57" name="Straight Connector 156">
            <a:extLst>
              <a:ext uri="{FF2B5EF4-FFF2-40B4-BE49-F238E27FC236}">
                <a16:creationId xmlns:a16="http://schemas.microsoft.com/office/drawing/2014/main" id="{CD41F44C-9814-4479-92D8-7C855CD2D247}"/>
              </a:ext>
            </a:extLst>
          </p:cNvPr>
          <p:cNvCxnSpPr>
            <a:cxnSpLocks/>
          </p:cNvCxnSpPr>
          <p:nvPr/>
        </p:nvCxnSpPr>
        <p:spPr>
          <a:xfrm flipH="1" flipV="1">
            <a:off x="2839994" y="4642196"/>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58" name="Straight Connector 157">
            <a:extLst>
              <a:ext uri="{FF2B5EF4-FFF2-40B4-BE49-F238E27FC236}">
                <a16:creationId xmlns:a16="http://schemas.microsoft.com/office/drawing/2014/main" id="{A139E7C8-E133-4104-B5FF-FD4DE40A73CA}"/>
              </a:ext>
            </a:extLst>
          </p:cNvPr>
          <p:cNvCxnSpPr>
            <a:cxnSpLocks/>
          </p:cNvCxnSpPr>
          <p:nvPr/>
        </p:nvCxnSpPr>
        <p:spPr>
          <a:xfrm flipH="1" flipV="1">
            <a:off x="7921128" y="4642196"/>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59" name="Straight Connector 158">
            <a:extLst>
              <a:ext uri="{FF2B5EF4-FFF2-40B4-BE49-F238E27FC236}">
                <a16:creationId xmlns:a16="http://schemas.microsoft.com/office/drawing/2014/main" id="{E153BA40-779C-4A03-BC07-BB95DBAC1E2A}"/>
              </a:ext>
            </a:extLst>
          </p:cNvPr>
          <p:cNvCxnSpPr>
            <a:cxnSpLocks/>
          </p:cNvCxnSpPr>
          <p:nvPr/>
        </p:nvCxnSpPr>
        <p:spPr>
          <a:xfrm flipH="1" flipV="1">
            <a:off x="9258114" y="4642526"/>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0" name="Straight Connector 159">
            <a:extLst>
              <a:ext uri="{FF2B5EF4-FFF2-40B4-BE49-F238E27FC236}">
                <a16:creationId xmlns:a16="http://schemas.microsoft.com/office/drawing/2014/main" id="{FC74F527-933E-4C7D-B61A-ECFC2B2F4F4D}"/>
              </a:ext>
            </a:extLst>
          </p:cNvPr>
          <p:cNvCxnSpPr>
            <a:cxnSpLocks/>
          </p:cNvCxnSpPr>
          <p:nvPr/>
        </p:nvCxnSpPr>
        <p:spPr>
          <a:xfrm flipH="1" flipV="1">
            <a:off x="10372297" y="4642526"/>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sp>
        <p:nvSpPr>
          <p:cNvPr id="161" name="Cylinder 160">
            <a:extLst>
              <a:ext uri="{FF2B5EF4-FFF2-40B4-BE49-F238E27FC236}">
                <a16:creationId xmlns:a16="http://schemas.microsoft.com/office/drawing/2014/main" id="{60372B8A-71B1-4C61-80C1-B70715879169}"/>
              </a:ext>
            </a:extLst>
          </p:cNvPr>
          <p:cNvSpPr/>
          <p:nvPr/>
        </p:nvSpPr>
        <p:spPr bwMode="auto">
          <a:xfrm>
            <a:off x="10177602" y="5096225"/>
            <a:ext cx="389389" cy="511565"/>
          </a:xfrm>
          <a:prstGeom prst="can">
            <a:avLst>
              <a:gd name="adj" fmla="val 39530"/>
            </a:avLst>
          </a:prstGeom>
          <a:noFill/>
          <a:ln w="12700" cap="flat" cmpd="sng" algn="ctr">
            <a:solidFill>
              <a:srgbClr val="505050">
                <a:lumMod val="65000"/>
                <a:lumOff val="35000"/>
              </a:srgbClr>
            </a:solidFill>
            <a:prstDash val="solid"/>
            <a:headEnd type="none" w="med" len="med"/>
            <a:tailEnd type="none" w="med" len="med"/>
          </a:ln>
          <a:effectLst/>
        </p:spPr>
        <p:txBody>
          <a:bodyPr rot="0" spcFirstLastPara="0" vert="horz" wrap="square" lIns="0" tIns="149196" rIns="0" bIns="14919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918" b="0" i="0" u="none" strike="noStrike" kern="1200" cap="none" spc="0" normalizeH="0" baseline="0" noProof="0" dirty="0">
                <a:ln>
                  <a:noFill/>
                </a:ln>
                <a:solidFill>
                  <a:srgbClr val="000000">
                    <a:lumMod val="75000"/>
                    <a:lumOff val="25000"/>
                  </a:srgbClr>
                </a:solidFill>
                <a:effectLst/>
                <a:uLnTx/>
                <a:uFillTx/>
                <a:latin typeface="Segoe UI"/>
                <a:ea typeface="Segoe UI" panose="020B0502040204020203" pitchFamily="34" charset="0"/>
                <a:cs typeface="Segoe UI" panose="020B0502040204020203" pitchFamily="34" charset="0"/>
              </a:rPr>
              <a:t>SQL</a:t>
            </a:r>
          </a:p>
        </p:txBody>
      </p:sp>
      <p:cxnSp>
        <p:nvCxnSpPr>
          <p:cNvPr id="162" name="Straight Connector 161">
            <a:extLst>
              <a:ext uri="{FF2B5EF4-FFF2-40B4-BE49-F238E27FC236}">
                <a16:creationId xmlns:a16="http://schemas.microsoft.com/office/drawing/2014/main" id="{23901A9A-A1CA-4500-B95F-B7F58E8F92B6}"/>
              </a:ext>
            </a:extLst>
          </p:cNvPr>
          <p:cNvCxnSpPr>
            <a:cxnSpLocks/>
          </p:cNvCxnSpPr>
          <p:nvPr/>
        </p:nvCxnSpPr>
        <p:spPr>
          <a:xfrm flipH="1" flipV="1">
            <a:off x="2830722" y="3402584"/>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3" name="Straight Connector 162">
            <a:extLst>
              <a:ext uri="{FF2B5EF4-FFF2-40B4-BE49-F238E27FC236}">
                <a16:creationId xmlns:a16="http://schemas.microsoft.com/office/drawing/2014/main" id="{E6BFA7B8-6B22-4320-BA14-7FD65196BB05}"/>
              </a:ext>
            </a:extLst>
          </p:cNvPr>
          <p:cNvCxnSpPr>
            <a:cxnSpLocks/>
          </p:cNvCxnSpPr>
          <p:nvPr/>
        </p:nvCxnSpPr>
        <p:spPr>
          <a:xfrm flipV="1">
            <a:off x="3134636" y="3440756"/>
            <a:ext cx="792502" cy="341398"/>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4" name="Straight Connector 163">
            <a:extLst>
              <a:ext uri="{FF2B5EF4-FFF2-40B4-BE49-F238E27FC236}">
                <a16:creationId xmlns:a16="http://schemas.microsoft.com/office/drawing/2014/main" id="{CB699761-EBCA-4D7F-B5B6-7F8F5922E851}"/>
              </a:ext>
            </a:extLst>
          </p:cNvPr>
          <p:cNvCxnSpPr>
            <a:cxnSpLocks/>
          </p:cNvCxnSpPr>
          <p:nvPr/>
        </p:nvCxnSpPr>
        <p:spPr>
          <a:xfrm flipH="1" flipV="1">
            <a:off x="6446568" y="3417492"/>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5" name="Straight Connector 164">
            <a:extLst>
              <a:ext uri="{FF2B5EF4-FFF2-40B4-BE49-F238E27FC236}">
                <a16:creationId xmlns:a16="http://schemas.microsoft.com/office/drawing/2014/main" id="{177958CE-BBB1-4F6C-B06C-9F6CACBFE33A}"/>
              </a:ext>
            </a:extLst>
          </p:cNvPr>
          <p:cNvCxnSpPr>
            <a:cxnSpLocks/>
          </p:cNvCxnSpPr>
          <p:nvPr/>
        </p:nvCxnSpPr>
        <p:spPr>
          <a:xfrm flipH="1" flipV="1">
            <a:off x="7947169" y="3437643"/>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6" name="Straight Connector 165">
            <a:extLst>
              <a:ext uri="{FF2B5EF4-FFF2-40B4-BE49-F238E27FC236}">
                <a16:creationId xmlns:a16="http://schemas.microsoft.com/office/drawing/2014/main" id="{3F2C0B34-5124-47F5-BD61-3D7F526ECD2A}"/>
              </a:ext>
            </a:extLst>
          </p:cNvPr>
          <p:cNvCxnSpPr>
            <a:cxnSpLocks/>
          </p:cNvCxnSpPr>
          <p:nvPr/>
        </p:nvCxnSpPr>
        <p:spPr>
          <a:xfrm flipH="1" flipV="1">
            <a:off x="9258114" y="3459932"/>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cxnSp>
        <p:nvCxnSpPr>
          <p:cNvPr id="167" name="Straight Connector 166">
            <a:extLst>
              <a:ext uri="{FF2B5EF4-FFF2-40B4-BE49-F238E27FC236}">
                <a16:creationId xmlns:a16="http://schemas.microsoft.com/office/drawing/2014/main" id="{F6D3F4D1-2122-4013-BE47-493AC0285E53}"/>
              </a:ext>
            </a:extLst>
          </p:cNvPr>
          <p:cNvCxnSpPr>
            <a:cxnSpLocks/>
          </p:cNvCxnSpPr>
          <p:nvPr/>
        </p:nvCxnSpPr>
        <p:spPr>
          <a:xfrm flipH="1" flipV="1">
            <a:off x="10320115" y="3422093"/>
            <a:ext cx="1" cy="372917"/>
          </a:xfrm>
          <a:prstGeom prst="line">
            <a:avLst/>
          </a:prstGeom>
          <a:noFill/>
          <a:ln w="28575" cap="flat" cmpd="sng" algn="ctr">
            <a:solidFill>
              <a:srgbClr val="505050">
                <a:lumMod val="50000"/>
                <a:lumOff val="50000"/>
              </a:srgbClr>
            </a:solidFill>
            <a:prstDash val="solid"/>
            <a:headEnd type="none"/>
            <a:tailEnd type="arrow" w="lg" len="sm"/>
          </a:ln>
          <a:effectLst/>
        </p:spPr>
      </p:cxnSp>
      <p:sp>
        <p:nvSpPr>
          <p:cNvPr id="168" name="Rectangle 167">
            <a:extLst>
              <a:ext uri="{FF2B5EF4-FFF2-40B4-BE49-F238E27FC236}">
                <a16:creationId xmlns:a16="http://schemas.microsoft.com/office/drawing/2014/main" id="{5A06576F-D285-4A91-9F09-8A1474A6C25D}"/>
              </a:ext>
            </a:extLst>
          </p:cNvPr>
          <p:cNvSpPr/>
          <p:nvPr/>
        </p:nvSpPr>
        <p:spPr>
          <a:xfrm>
            <a:off x="9667700" y="2807365"/>
            <a:ext cx="1436005" cy="286266"/>
          </a:xfrm>
          <a:prstGeom prst="rect">
            <a:avLst/>
          </a:prstGeom>
          <a:noFill/>
          <a:ln w="9525" cap="flat" cmpd="sng" algn="ctr">
            <a:noFill/>
            <a:prstDash val="solid"/>
            <a:headEnd type="none" w="med" len="med"/>
            <a:tailEnd type="none" w="med" len="med"/>
          </a:ln>
          <a:effectLst/>
        </p:spPr>
        <p:txBody>
          <a:bodyPr rot="0" spcFirstLastPara="0" vert="horz" wrap="square" lIns="93247" tIns="46623" rIns="93247" bIns="46623"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4455">
              <a:spcBef>
                <a:spcPct val="0"/>
              </a:spcBef>
              <a:spcAft>
                <a:spcPct val="35000"/>
              </a:spcAft>
              <a:defRPr/>
            </a:pPr>
            <a:r>
              <a:rPr lang="en-US" sz="1224" kern="0" dirty="0">
                <a:solidFill>
                  <a:srgbClr val="0078D7"/>
                </a:solidFill>
                <a:latin typeface="Segoe UI Semibold" panose="020B0702040204020203" pitchFamily="34" charset="0"/>
                <a:cs typeface="Segoe UI Semibold" panose="020B0702040204020203" pitchFamily="34" charset="0"/>
              </a:rPr>
              <a:t>PowerBI.com</a:t>
            </a:r>
          </a:p>
        </p:txBody>
      </p:sp>
      <p:cxnSp>
        <p:nvCxnSpPr>
          <p:cNvPr id="169" name="Straight Connector 168">
            <a:extLst>
              <a:ext uri="{FF2B5EF4-FFF2-40B4-BE49-F238E27FC236}">
                <a16:creationId xmlns:a16="http://schemas.microsoft.com/office/drawing/2014/main" id="{7AD8B581-D34F-4BF1-ADD2-D4FC16F1976D}"/>
              </a:ext>
            </a:extLst>
          </p:cNvPr>
          <p:cNvCxnSpPr>
            <a:cxnSpLocks/>
          </p:cNvCxnSpPr>
          <p:nvPr/>
        </p:nvCxnSpPr>
        <p:spPr>
          <a:xfrm>
            <a:off x="2277562" y="1964396"/>
            <a:ext cx="9431794" cy="0"/>
          </a:xfrm>
          <a:prstGeom prst="line">
            <a:avLst/>
          </a:prstGeom>
          <a:noFill/>
          <a:ln w="9525" cap="flat" cmpd="sng" algn="ctr">
            <a:solidFill>
              <a:srgbClr val="505050">
                <a:lumMod val="50000"/>
                <a:lumOff val="50000"/>
              </a:srgbClr>
            </a:solidFill>
            <a:prstDash val="dash"/>
            <a:headEnd type="none"/>
            <a:tailEnd type="none"/>
          </a:ln>
          <a:effectLst/>
        </p:spPr>
      </p:cxnSp>
      <p:cxnSp>
        <p:nvCxnSpPr>
          <p:cNvPr id="170" name="Straight Connector 169">
            <a:extLst>
              <a:ext uri="{FF2B5EF4-FFF2-40B4-BE49-F238E27FC236}">
                <a16:creationId xmlns:a16="http://schemas.microsoft.com/office/drawing/2014/main" id="{AD7DA811-FA75-4464-A662-3949AD6254E1}"/>
              </a:ext>
            </a:extLst>
          </p:cNvPr>
          <p:cNvCxnSpPr>
            <a:cxnSpLocks/>
          </p:cNvCxnSpPr>
          <p:nvPr/>
        </p:nvCxnSpPr>
        <p:spPr>
          <a:xfrm>
            <a:off x="743148" y="6651687"/>
            <a:ext cx="10966208" cy="0"/>
          </a:xfrm>
          <a:prstGeom prst="line">
            <a:avLst/>
          </a:prstGeom>
          <a:noFill/>
          <a:ln w="9525" cap="flat" cmpd="sng" algn="ctr">
            <a:solidFill>
              <a:srgbClr val="505050">
                <a:lumMod val="50000"/>
                <a:lumOff val="50000"/>
              </a:srgbClr>
            </a:solidFill>
            <a:prstDash val="dash"/>
            <a:headEnd type="none"/>
            <a:tailEnd type="none"/>
          </a:ln>
          <a:effectLst/>
        </p:spPr>
      </p:cxnSp>
      <p:grpSp>
        <p:nvGrpSpPr>
          <p:cNvPr id="171" name="Group 170">
            <a:extLst>
              <a:ext uri="{FF2B5EF4-FFF2-40B4-BE49-F238E27FC236}">
                <a16:creationId xmlns:a16="http://schemas.microsoft.com/office/drawing/2014/main" id="{CD535861-D799-4461-9647-900DDAB94C1E}"/>
              </a:ext>
            </a:extLst>
          </p:cNvPr>
          <p:cNvGrpSpPr/>
          <p:nvPr/>
        </p:nvGrpSpPr>
        <p:grpSpPr>
          <a:xfrm>
            <a:off x="2884372" y="932749"/>
            <a:ext cx="8159762" cy="962773"/>
            <a:chOff x="2102412" y="820959"/>
            <a:chExt cx="8001628" cy="944115"/>
          </a:xfrm>
        </p:grpSpPr>
        <p:grpSp>
          <p:nvGrpSpPr>
            <p:cNvPr id="172" name="Group 171">
              <a:extLst>
                <a:ext uri="{FF2B5EF4-FFF2-40B4-BE49-F238E27FC236}">
                  <a16:creationId xmlns:a16="http://schemas.microsoft.com/office/drawing/2014/main" id="{4AB5C43C-085F-4E70-B968-22296BB075D1}"/>
                </a:ext>
              </a:extLst>
            </p:cNvPr>
            <p:cNvGrpSpPr/>
            <p:nvPr/>
          </p:nvGrpSpPr>
          <p:grpSpPr>
            <a:xfrm>
              <a:off x="2102412" y="899148"/>
              <a:ext cx="1420784" cy="695748"/>
              <a:chOff x="484982" y="5829862"/>
              <a:chExt cx="1472378" cy="882464"/>
            </a:xfrm>
          </p:grpSpPr>
          <p:pic>
            <p:nvPicPr>
              <p:cNvPr id="185" name="Picture 184">
                <a:extLst>
                  <a:ext uri="{FF2B5EF4-FFF2-40B4-BE49-F238E27FC236}">
                    <a16:creationId xmlns:a16="http://schemas.microsoft.com/office/drawing/2014/main" id="{9FC726A5-0FBA-4A90-BE3E-BF2CF9F89D3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9150" y="5829862"/>
                <a:ext cx="635521" cy="701559"/>
              </a:xfrm>
              <a:prstGeom prst="rect">
                <a:avLst/>
              </a:prstGeom>
            </p:spPr>
          </p:pic>
          <p:sp>
            <p:nvSpPr>
              <p:cNvPr id="186" name="Rectangle 185">
                <a:extLst>
                  <a:ext uri="{FF2B5EF4-FFF2-40B4-BE49-F238E27FC236}">
                    <a16:creationId xmlns:a16="http://schemas.microsoft.com/office/drawing/2014/main" id="{CFAC9B72-C20F-4903-83A9-2ED07A1E7A7F}"/>
                  </a:ext>
                </a:extLst>
              </p:cNvPr>
              <p:cNvSpPr/>
              <p:nvPr/>
            </p:nvSpPr>
            <p:spPr>
              <a:xfrm>
                <a:off x="484982" y="6416006"/>
                <a:ext cx="1472378" cy="296320"/>
              </a:xfrm>
              <a:prstGeom prst="rect">
                <a:avLst/>
              </a:prstGeom>
            </p:spPr>
            <p:txBody>
              <a:bodyPr wrap="none">
                <a:spAutoFit/>
              </a:bodyPr>
              <a:lstStyle/>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AZURE EXPRESSROUTE</a:t>
                </a:r>
              </a:p>
            </p:txBody>
          </p:sp>
        </p:grpSp>
        <p:grpSp>
          <p:nvGrpSpPr>
            <p:cNvPr id="173" name="Group 172">
              <a:extLst>
                <a:ext uri="{FF2B5EF4-FFF2-40B4-BE49-F238E27FC236}">
                  <a16:creationId xmlns:a16="http://schemas.microsoft.com/office/drawing/2014/main" id="{2F08195F-C0EF-4E79-BAD7-38AA704F0F5C}"/>
                </a:ext>
              </a:extLst>
            </p:cNvPr>
            <p:cNvGrpSpPr/>
            <p:nvPr/>
          </p:nvGrpSpPr>
          <p:grpSpPr>
            <a:xfrm>
              <a:off x="5438443" y="826863"/>
              <a:ext cx="1200970" cy="927968"/>
              <a:chOff x="2151866" y="5782918"/>
              <a:chExt cx="1244582" cy="1176999"/>
            </a:xfrm>
          </p:grpSpPr>
          <p:pic>
            <p:nvPicPr>
              <p:cNvPr id="183" name="Picture 182">
                <a:extLst>
                  <a:ext uri="{FF2B5EF4-FFF2-40B4-BE49-F238E27FC236}">
                    <a16:creationId xmlns:a16="http://schemas.microsoft.com/office/drawing/2014/main" id="{D50C6999-BDB7-4D30-8367-7132357D5F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56397" y="5782918"/>
                <a:ext cx="635521" cy="701559"/>
              </a:xfrm>
              <a:prstGeom prst="rect">
                <a:avLst/>
              </a:prstGeom>
            </p:spPr>
          </p:pic>
          <p:sp>
            <p:nvSpPr>
              <p:cNvPr id="184" name="Rectangle 183">
                <a:extLst>
                  <a:ext uri="{FF2B5EF4-FFF2-40B4-BE49-F238E27FC236}">
                    <a16:creationId xmlns:a16="http://schemas.microsoft.com/office/drawing/2014/main" id="{FF092F5D-D72A-4A30-84BD-4EE86F68B1EC}"/>
                  </a:ext>
                </a:extLst>
              </p:cNvPr>
              <p:cNvSpPr/>
              <p:nvPr/>
            </p:nvSpPr>
            <p:spPr>
              <a:xfrm>
                <a:off x="2151866" y="6484476"/>
                <a:ext cx="1244582" cy="475441"/>
              </a:xfrm>
              <a:prstGeom prst="rect">
                <a:avLst/>
              </a:prstGeom>
            </p:spPr>
            <p:txBody>
              <a:bodyPr wrap="none">
                <a:spAutoFit/>
              </a:bodyPr>
              <a:lstStyle/>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AZURE NETWORK</a:t>
                </a:r>
              </a:p>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SECURITY GROUPS</a:t>
                </a:r>
              </a:p>
            </p:txBody>
          </p:sp>
        </p:grpSp>
        <p:grpSp>
          <p:nvGrpSpPr>
            <p:cNvPr id="174" name="Group 173">
              <a:extLst>
                <a:ext uri="{FF2B5EF4-FFF2-40B4-BE49-F238E27FC236}">
                  <a16:creationId xmlns:a16="http://schemas.microsoft.com/office/drawing/2014/main" id="{B22707DC-4BFF-4C58-99DD-5F85EFB21A3F}"/>
                </a:ext>
              </a:extLst>
            </p:cNvPr>
            <p:cNvGrpSpPr/>
            <p:nvPr/>
          </p:nvGrpSpPr>
          <p:grpSpPr>
            <a:xfrm>
              <a:off x="8755594" y="828868"/>
              <a:ext cx="1348446" cy="922492"/>
              <a:chOff x="5653760" y="5701790"/>
              <a:chExt cx="1397412" cy="1170056"/>
            </a:xfrm>
          </p:grpSpPr>
          <p:pic>
            <p:nvPicPr>
              <p:cNvPr id="181" name="Picture 180">
                <a:extLst>
                  <a:ext uri="{FF2B5EF4-FFF2-40B4-BE49-F238E27FC236}">
                    <a16:creationId xmlns:a16="http://schemas.microsoft.com/office/drawing/2014/main" id="{78359163-C1D5-4B7B-AF5D-B99720624B8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34707" y="5701790"/>
                <a:ext cx="635521" cy="701559"/>
              </a:xfrm>
              <a:prstGeom prst="rect">
                <a:avLst/>
              </a:prstGeom>
            </p:spPr>
          </p:pic>
          <p:sp>
            <p:nvSpPr>
              <p:cNvPr id="182" name="Rectangle 181">
                <a:extLst>
                  <a:ext uri="{FF2B5EF4-FFF2-40B4-BE49-F238E27FC236}">
                    <a16:creationId xmlns:a16="http://schemas.microsoft.com/office/drawing/2014/main" id="{73CF70D3-5087-4D53-8AE8-D6218CD7DA6B}"/>
                  </a:ext>
                </a:extLst>
              </p:cNvPr>
              <p:cNvSpPr/>
              <p:nvPr/>
            </p:nvSpPr>
            <p:spPr>
              <a:xfrm>
                <a:off x="5653760" y="6396405"/>
                <a:ext cx="1397412" cy="475441"/>
              </a:xfrm>
              <a:prstGeom prst="rect">
                <a:avLst/>
              </a:prstGeom>
            </p:spPr>
            <p:txBody>
              <a:bodyPr wrap="none">
                <a:spAutoFit/>
              </a:bodyPr>
              <a:lstStyle/>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OPERATIONS</a:t>
                </a:r>
              </a:p>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MANAGEMENT SUITE</a:t>
                </a:r>
              </a:p>
            </p:txBody>
          </p:sp>
        </p:grpSp>
        <p:grpSp>
          <p:nvGrpSpPr>
            <p:cNvPr id="175" name="Group 174">
              <a:extLst>
                <a:ext uri="{FF2B5EF4-FFF2-40B4-BE49-F238E27FC236}">
                  <a16:creationId xmlns:a16="http://schemas.microsoft.com/office/drawing/2014/main" id="{7F2029DE-ACB6-4743-9679-9BE9A4D8D46B}"/>
                </a:ext>
              </a:extLst>
            </p:cNvPr>
            <p:cNvGrpSpPr/>
            <p:nvPr/>
          </p:nvGrpSpPr>
          <p:grpSpPr>
            <a:xfrm>
              <a:off x="3870465" y="841632"/>
              <a:ext cx="1228221" cy="887637"/>
              <a:chOff x="2654822" y="4605697"/>
              <a:chExt cx="1272820" cy="1125846"/>
            </a:xfrm>
          </p:grpSpPr>
          <p:pic>
            <p:nvPicPr>
              <p:cNvPr id="179" name="Picture 178">
                <a:extLst>
                  <a:ext uri="{FF2B5EF4-FFF2-40B4-BE49-F238E27FC236}">
                    <a16:creationId xmlns:a16="http://schemas.microsoft.com/office/drawing/2014/main" id="{3D4E0950-B53C-4749-A9B1-1262F1DF3B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73472" y="4605697"/>
                <a:ext cx="635521" cy="701558"/>
              </a:xfrm>
              <a:prstGeom prst="rect">
                <a:avLst/>
              </a:prstGeom>
            </p:spPr>
          </p:pic>
          <p:sp>
            <p:nvSpPr>
              <p:cNvPr id="180" name="Rectangle 179">
                <a:extLst>
                  <a:ext uri="{FF2B5EF4-FFF2-40B4-BE49-F238E27FC236}">
                    <a16:creationId xmlns:a16="http://schemas.microsoft.com/office/drawing/2014/main" id="{75053EB1-E497-48CC-BB94-C623A956FC5E}"/>
                  </a:ext>
                </a:extLst>
              </p:cNvPr>
              <p:cNvSpPr/>
              <p:nvPr/>
            </p:nvSpPr>
            <p:spPr>
              <a:xfrm>
                <a:off x="2654822" y="5256102"/>
                <a:ext cx="1272820" cy="475441"/>
              </a:xfrm>
              <a:prstGeom prst="rect">
                <a:avLst/>
              </a:prstGeom>
            </p:spPr>
            <p:txBody>
              <a:bodyPr wrap="none">
                <a:spAutoFit/>
              </a:bodyPr>
              <a:lstStyle/>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AZURE</a:t>
                </a:r>
              </a:p>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grpSp>
          <p:nvGrpSpPr>
            <p:cNvPr id="176" name="Group 175">
              <a:extLst>
                <a:ext uri="{FF2B5EF4-FFF2-40B4-BE49-F238E27FC236}">
                  <a16:creationId xmlns:a16="http://schemas.microsoft.com/office/drawing/2014/main" id="{5E53C963-78E9-426C-BC9A-6865D80E3EBF}"/>
                </a:ext>
              </a:extLst>
            </p:cNvPr>
            <p:cNvGrpSpPr/>
            <p:nvPr/>
          </p:nvGrpSpPr>
          <p:grpSpPr>
            <a:xfrm>
              <a:off x="6932142" y="820959"/>
              <a:ext cx="1483098" cy="944115"/>
              <a:chOff x="4419228" y="5009228"/>
              <a:chExt cx="1536954" cy="1197479"/>
            </a:xfrm>
          </p:grpSpPr>
          <p:pic>
            <p:nvPicPr>
              <p:cNvPr id="177" name="Picture 176">
                <a:extLst>
                  <a:ext uri="{FF2B5EF4-FFF2-40B4-BE49-F238E27FC236}">
                    <a16:creationId xmlns:a16="http://schemas.microsoft.com/office/drawing/2014/main" id="{E38B4E7C-7BD6-43C3-9894-F434EB00FA5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69945" y="5009228"/>
                <a:ext cx="635521" cy="701559"/>
              </a:xfrm>
              <a:prstGeom prst="rect">
                <a:avLst/>
              </a:prstGeom>
            </p:spPr>
          </p:pic>
          <p:sp>
            <p:nvSpPr>
              <p:cNvPr id="178" name="Rectangle 177">
                <a:extLst>
                  <a:ext uri="{FF2B5EF4-FFF2-40B4-BE49-F238E27FC236}">
                    <a16:creationId xmlns:a16="http://schemas.microsoft.com/office/drawing/2014/main" id="{B6E0024E-9235-4A05-89DA-70E3CF3767E8}"/>
                  </a:ext>
                </a:extLst>
              </p:cNvPr>
              <p:cNvSpPr/>
              <p:nvPr/>
            </p:nvSpPr>
            <p:spPr>
              <a:xfrm>
                <a:off x="4419228" y="5731267"/>
                <a:ext cx="1536954" cy="475440"/>
              </a:xfrm>
              <a:prstGeom prst="rect">
                <a:avLst/>
              </a:prstGeom>
            </p:spPr>
            <p:txBody>
              <a:bodyPr wrap="none">
                <a:spAutoFit/>
              </a:bodyPr>
              <a:lstStyle/>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AZURE KEY </a:t>
                </a:r>
              </a:p>
              <a:p>
                <a:pPr algn="ctr" defTabSz="950608">
                  <a:defRPr/>
                </a:pPr>
                <a:r>
                  <a:rPr lang="en-US" sz="918" kern="0" dirty="0">
                    <a:solidFill>
                      <a:srgbClr val="268CDD"/>
                    </a:solidFill>
                    <a:latin typeface="Segoe UI Semibold" panose="020B0702040204020203" pitchFamily="34" charset="0"/>
                    <a:ea typeface="MS PGothic" panose="020B0600070205080204" pitchFamily="34" charset="-128"/>
                    <a:cs typeface="Segoe UI Semibold" panose="020B0702040204020203" pitchFamily="34" charset="0"/>
                  </a:rPr>
                  <a:t>MANAGEMENT SERVICE</a:t>
                </a:r>
              </a:p>
            </p:txBody>
          </p:sp>
        </p:grpSp>
      </p:grpSp>
      <p:sp>
        <p:nvSpPr>
          <p:cNvPr id="187" name="Arrow: Pentagon 186">
            <a:extLst>
              <a:ext uri="{FF2B5EF4-FFF2-40B4-BE49-F238E27FC236}">
                <a16:creationId xmlns:a16="http://schemas.microsoft.com/office/drawing/2014/main" id="{12219DFA-1176-4443-A208-D04C7CCC7F64}"/>
              </a:ext>
            </a:extLst>
          </p:cNvPr>
          <p:cNvSpPr/>
          <p:nvPr/>
        </p:nvSpPr>
        <p:spPr bwMode="auto">
          <a:xfrm rot="16200000">
            <a:off x="8735129" y="3428695"/>
            <a:ext cx="5873169" cy="579188"/>
          </a:xfrm>
          <a:prstGeom prst="homePlat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b="1"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Modernize SQL to Azure</a:t>
            </a:r>
          </a:p>
          <a:p>
            <a:pPr algn="ctr" defTabSz="950846" fontAlgn="base">
              <a:lnSpc>
                <a:spcPct val="90000"/>
              </a:lnSpc>
              <a:spcBef>
                <a:spcPct val="0"/>
              </a:spcBef>
              <a:spcAft>
                <a:spcPct val="0"/>
              </a:spcAft>
              <a:defRPr/>
            </a:pPr>
            <a:endParaRPr lang="en-US" sz="2448"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04" name="TextBox 203">
            <a:extLst>
              <a:ext uri="{FF2B5EF4-FFF2-40B4-BE49-F238E27FC236}">
                <a16:creationId xmlns:a16="http://schemas.microsoft.com/office/drawing/2014/main" id="{728E5078-A35C-4C74-9D99-A0BB3E49DF9A}"/>
              </a:ext>
            </a:extLst>
          </p:cNvPr>
          <p:cNvSpPr txBox="1"/>
          <p:nvPr/>
        </p:nvSpPr>
        <p:spPr>
          <a:xfrm>
            <a:off x="1038435" y="2727909"/>
            <a:ext cx="639599" cy="307777"/>
          </a:xfrm>
          <a:prstGeom prst="rect">
            <a:avLst/>
          </a:prstGeom>
          <a:noFill/>
        </p:spPr>
        <p:txBody>
          <a:bodyPr wrap="none" lIns="0" tIns="0" rIns="0" bIns="0" rtlCol="0">
            <a:spAutoFit/>
          </a:bodyPr>
          <a:lstStyle/>
          <a:p>
            <a:r>
              <a:rPr lang="en-US" sz="2000" b="1" kern="0" dirty="0">
                <a:solidFill>
                  <a:srgbClr val="0078D7"/>
                </a:solidFill>
                <a:latin typeface="Segoe UI Semilight" panose="020B0402040204020203" pitchFamily="34" charset="0"/>
                <a:ea typeface="Segoe UI" pitchFamily="34" charset="0"/>
                <a:cs typeface="Segoe UI Semilight" panose="020B0402040204020203" pitchFamily="34" charset="0"/>
              </a:rPr>
              <a:t>Azure</a:t>
            </a:r>
          </a:p>
        </p:txBody>
      </p:sp>
      <p:sp>
        <p:nvSpPr>
          <p:cNvPr id="205" name="TextBox 204">
            <a:extLst>
              <a:ext uri="{FF2B5EF4-FFF2-40B4-BE49-F238E27FC236}">
                <a16:creationId xmlns:a16="http://schemas.microsoft.com/office/drawing/2014/main" id="{994B26C8-1291-4DD2-B286-029D6A50A7B0}"/>
              </a:ext>
            </a:extLst>
          </p:cNvPr>
          <p:cNvSpPr txBox="1"/>
          <p:nvPr/>
        </p:nvSpPr>
        <p:spPr>
          <a:xfrm>
            <a:off x="886259" y="5904617"/>
            <a:ext cx="1378583" cy="307777"/>
          </a:xfrm>
          <a:prstGeom prst="rect">
            <a:avLst/>
          </a:prstGeom>
          <a:noFill/>
        </p:spPr>
        <p:txBody>
          <a:bodyPr wrap="none" lIns="0" tIns="0" rIns="0" bIns="0" rtlCol="0">
            <a:spAutoFit/>
          </a:bodyPr>
          <a:lstStyle/>
          <a:p>
            <a:r>
              <a:rPr lang="en-US" sz="2000" b="1" kern="0" dirty="0">
                <a:solidFill>
                  <a:srgbClr val="000000">
                    <a:lumMod val="50000"/>
                    <a:lumOff val="50000"/>
                  </a:srgbClr>
                </a:solidFill>
                <a:latin typeface="Segoe UI Semilight" panose="020B0402040204020203" pitchFamily="34" charset="0"/>
                <a:ea typeface="Segoe UI" pitchFamily="34" charset="0"/>
                <a:cs typeface="Segoe UI Semilight" panose="020B0402040204020203" pitchFamily="34" charset="0"/>
              </a:rPr>
              <a:t>On Premises</a:t>
            </a:r>
          </a:p>
        </p:txBody>
      </p:sp>
    </p:spTree>
    <p:extLst>
      <p:ext uri="{BB962C8B-B14F-4D97-AF65-F5344CB8AC3E}">
        <p14:creationId xmlns:p14="http://schemas.microsoft.com/office/powerpoint/2010/main" val="33969988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11831666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0003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A1544A17-387D-417A-82E0-7180C151B86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Module Summary</a:t>
            </a:r>
          </a:p>
        </p:txBody>
      </p:sp>
      <p:graphicFrame>
        <p:nvGraphicFramePr>
          <p:cNvPr id="4" name="Diagram 3">
            <a:extLst>
              <a:ext uri="{FF2B5EF4-FFF2-40B4-BE49-F238E27FC236}">
                <a16:creationId xmlns:a16="http://schemas.microsoft.com/office/drawing/2014/main" id="{CC0C7D7B-5171-4AB1-8217-EC1A932C28B3}"/>
              </a:ext>
            </a:extLst>
          </p:cNvPr>
          <p:cNvGraphicFramePr/>
          <p:nvPr>
            <p:extLst>
              <p:ext uri="{D42A27DB-BD31-4B8C-83A1-F6EECF244321}">
                <p14:modId xmlns:p14="http://schemas.microsoft.com/office/powerpoint/2010/main" val="2576925313"/>
              </p:ext>
            </p:extLst>
          </p:nvPr>
        </p:nvGraphicFramePr>
        <p:xfrm>
          <a:off x="5008562" y="630238"/>
          <a:ext cx="6726237" cy="5597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560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E73D8FE-C57C-4F85-B157-2B3DD75AC58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F3C025D7-2943-4A7C-BB05-603EE4EDEF39}"/>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graphicEl>
                                              <a:dgm id="{F85B7ED1-D915-49DF-8BE7-ECED0BAF6A3A}"/>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AA829AE2-3BC8-401A-977F-8D2A5039734F}"/>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7BDAB71C-E074-43E0-ADB6-AE1A937315D0}"/>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5117DD99-E94A-45B4-A245-62024F6E5CFE}"/>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graphicEl>
                                              <a:dgm id="{68C77D06-B0D6-4EDC-9404-24BB61588442}"/>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graphicEl>
                                              <a:dgm id="{84F7203B-C1BB-4860-9082-1E4C44955C48}"/>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graphicEl>
                                              <a:dgm id="{D48E2FCE-D58B-47E5-B3D3-12B67B8328E3}"/>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graphicEl>
                                              <a:dgm id="{5553E100-619D-42B4-86CC-867B5C4DCCC1}"/>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graphicEl>
                                              <a:dgm id="{F6F829BE-64A3-4E65-A9AD-7FAE0FF8E07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DF95C-850C-4836-975A-DEBE62E2CE5A}"/>
              </a:ext>
            </a:extLst>
          </p:cNvPr>
          <p:cNvSpPr>
            <a:spLocks noGrp="1"/>
          </p:cNvSpPr>
          <p:nvPr>
            <p:ph type="title"/>
          </p:nvPr>
        </p:nvSpPr>
        <p:spPr/>
        <p:txBody>
          <a:bodyPr/>
          <a:lstStyle/>
          <a:p>
            <a:r>
              <a:rPr lang="en-US" dirty="0"/>
              <a:t>Migration Steps</a:t>
            </a:r>
          </a:p>
        </p:txBody>
      </p:sp>
      <p:graphicFrame>
        <p:nvGraphicFramePr>
          <p:cNvPr id="6" name="Content Placeholder 5">
            <a:extLst>
              <a:ext uri="{FF2B5EF4-FFF2-40B4-BE49-F238E27FC236}">
                <a16:creationId xmlns:a16="http://schemas.microsoft.com/office/drawing/2014/main" id="{75B22516-78CB-4C57-B8A4-15D316122D4E}"/>
              </a:ext>
            </a:extLst>
          </p:cNvPr>
          <p:cNvGraphicFramePr>
            <a:graphicFrameLocks noGrp="1"/>
          </p:cNvGraphicFramePr>
          <p:nvPr>
            <p:ph sz="quarter" idx="13"/>
            <p:extLst>
              <p:ext uri="{D42A27DB-BD31-4B8C-83A1-F6EECF244321}">
                <p14:modId xmlns:p14="http://schemas.microsoft.com/office/powerpoint/2010/main" val="875256377"/>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B13520A3-DFE7-4E64-BC21-3963D83DDF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77562" y="3408430"/>
            <a:ext cx="9525" cy="9525"/>
          </a:xfrm>
          <a:prstGeom prst="rect">
            <a:avLst/>
          </a:prstGeom>
        </p:spPr>
      </p:pic>
      <p:pic>
        <p:nvPicPr>
          <p:cNvPr id="5" name="Picture 4" descr="A picture containing screenshot&#10;&#10;Description generated with very high confidence">
            <a:extLst>
              <a:ext uri="{FF2B5EF4-FFF2-40B4-BE49-F238E27FC236}">
                <a16:creationId xmlns:a16="http://schemas.microsoft.com/office/drawing/2014/main" id="{9F791B44-A9FF-43EE-9D15-3F795BFE78C8}"/>
              </a:ext>
            </a:extLst>
          </p:cNvPr>
          <p:cNvPicPr>
            <a:picLocks noChangeAspect="1"/>
          </p:cNvPicPr>
          <p:nvPr/>
        </p:nvPicPr>
        <p:blipFill>
          <a:blip r:embed="rId9"/>
          <a:stretch>
            <a:fillRect/>
          </a:stretch>
        </p:blipFill>
        <p:spPr>
          <a:xfrm>
            <a:off x="6324600" y="2019499"/>
            <a:ext cx="5829300" cy="3430387"/>
          </a:xfrm>
          <a:prstGeom prst="rect">
            <a:avLst/>
          </a:prstGeom>
        </p:spPr>
      </p:pic>
    </p:spTree>
    <p:extLst>
      <p:ext uri="{BB962C8B-B14F-4D97-AF65-F5344CB8AC3E}">
        <p14:creationId xmlns:p14="http://schemas.microsoft.com/office/powerpoint/2010/main" val="444186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8CD1FE1D-E287-411F-9901-55DA6132E64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dgm id="{6F2C9590-3F96-4E14-9815-923CACEE805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dgm id="{6C1FC342-0EC6-4A9D-A337-1FDDA0DAB595}"/>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dgm id="{E9F86373-308E-4972-8927-7F136DB2E8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dgm id="{DB43D4DD-76F1-4FAB-BF1C-7C972D1D525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8716962" cy="604798"/>
          </a:xfrm>
        </p:spPr>
        <p:txBody>
          <a:bodyPr/>
          <a:lstStyle/>
          <a:p>
            <a:r>
              <a:rPr lang="en-US" dirty="0"/>
              <a:t>Lesson 2: Is your database ready to move to Azure SQL database?</a:t>
            </a:r>
          </a:p>
        </p:txBody>
      </p:sp>
    </p:spTree>
    <p:extLst>
      <p:ext uri="{BB962C8B-B14F-4D97-AF65-F5344CB8AC3E}">
        <p14:creationId xmlns:p14="http://schemas.microsoft.com/office/powerpoint/2010/main" val="289400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7E44C8F-FB8B-4273-B9DC-54AC873F6650}">
  <ds:schemaRefs>
    <ds:schemaRef ds:uri="Strauss.PersonalizationDefinition"/>
  </ds:schemaRefs>
</ds:datastoreItem>
</file>

<file path=customXml/itemProps10.xml><?xml version="1.0" encoding="utf-8"?>
<ds:datastoreItem xmlns:ds="http://schemas.openxmlformats.org/officeDocument/2006/customXml" ds:itemID="{C4CFE6B5-E99B-4D88-B3E0-933AAC0488E3}">
  <ds:schemaRefs>
    <ds:schemaRef ds:uri="Strauss.PersonalizationDefinition"/>
  </ds:schemaRefs>
</ds:datastoreItem>
</file>

<file path=customXml/itemProps11.xml><?xml version="1.0" encoding="utf-8"?>
<ds:datastoreItem xmlns:ds="http://schemas.openxmlformats.org/officeDocument/2006/customXml" ds:itemID="{B9083F10-D6B6-4B37-8D1B-DE0C38CC04A8}">
  <ds:schemaRefs>
    <ds:schemaRef ds:uri="Strauss.PersonalizationDefinition"/>
  </ds:schemaRefs>
</ds:datastoreItem>
</file>

<file path=customXml/itemProps12.xml><?xml version="1.0" encoding="utf-8"?>
<ds:datastoreItem xmlns:ds="http://schemas.openxmlformats.org/officeDocument/2006/customXml" ds:itemID="{30DE8839-6C0E-456F-B5F7-2D1C6517E91C}">
  <ds:schemaRefs>
    <ds:schemaRef ds:uri="Strauss.PersonalizationDefinition"/>
  </ds:schemaRefs>
</ds:datastoreItem>
</file>

<file path=customXml/itemProps13.xml><?xml version="1.0" encoding="utf-8"?>
<ds:datastoreItem xmlns:ds="http://schemas.openxmlformats.org/officeDocument/2006/customXml" ds:itemID="{75C05EC8-D295-4080-807A-6EA8C339A657}">
  <ds:schemaRefs>
    <ds:schemaRef ds:uri="Strauss.PersonalizationDefinition"/>
  </ds:schemaRefs>
</ds:datastoreItem>
</file>

<file path=customXml/itemProps14.xml><?xml version="1.0" encoding="utf-8"?>
<ds:datastoreItem xmlns:ds="http://schemas.openxmlformats.org/officeDocument/2006/customXml" ds:itemID="{025FBFC7-09A0-43AC-BC6D-0150B69B3A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9CFE9A22-C3CB-45B7-B365-FE59FD6BB66B}">
  <ds:schemaRefs>
    <ds:schemaRef ds:uri="Strauss.PersonalizationDefinition"/>
  </ds:schemaRefs>
</ds:datastoreItem>
</file>

<file path=customXml/itemProps2.xml><?xml version="1.0" encoding="utf-8"?>
<ds:datastoreItem xmlns:ds="http://schemas.openxmlformats.org/officeDocument/2006/customXml" ds:itemID="{7C42A160-080E-4178-8FDB-B5422D4D778A}">
  <ds:schemaRefs>
    <ds:schemaRef ds:uri="Strauss.PersonalizationDefinition"/>
  </ds:schemaRefs>
</ds:datastoreItem>
</file>

<file path=customXml/itemProps3.xml><?xml version="1.0" encoding="utf-8"?>
<ds:datastoreItem xmlns:ds="http://schemas.openxmlformats.org/officeDocument/2006/customXml" ds:itemID="{21996DCB-2E9B-4D88-9178-4782877E2D24}">
  <ds:schemaRefs>
    <ds:schemaRef ds:uri="http://schemas.microsoft.com/sharepoint/v3/contenttype/forms"/>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6151D266-999B-40FE-A8D8-758962D1837C}">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customXml/itemProps6.xml><?xml version="1.0" encoding="utf-8"?>
<ds:datastoreItem xmlns:ds="http://schemas.openxmlformats.org/officeDocument/2006/customXml" ds:itemID="{037145F0-AEE6-4FF0-B4A5-C70012DC1F40}">
  <ds:schemaRefs>
    <ds:schemaRef ds:uri="Strauss.PersonalizationDefinition"/>
  </ds:schemaRefs>
</ds:datastoreItem>
</file>

<file path=customXml/itemProps7.xml><?xml version="1.0" encoding="utf-8"?>
<ds:datastoreItem xmlns:ds="http://schemas.openxmlformats.org/officeDocument/2006/customXml" ds:itemID="{EBCC33FC-94BB-4B1D-A4C6-D2E6A3A4B1FD}">
  <ds:schemaRefs>
    <ds:schemaRef ds:uri="Strauss.PersonalizationDefinition"/>
  </ds:schemaRefs>
</ds:datastoreItem>
</file>

<file path=customXml/itemProps8.xml><?xml version="1.0" encoding="utf-8"?>
<ds:datastoreItem xmlns:ds="http://schemas.openxmlformats.org/officeDocument/2006/customXml" ds:itemID="{9EEC7FED-AC7D-45C9-8F29-C2C8A7233C3D}">
  <ds:schemaRefs>
    <ds:schemaRef ds:uri="Strauss.PersonalizationDefinition"/>
  </ds:schemaRefs>
</ds:datastoreItem>
</file>

<file path=customXml/itemProps9.xml><?xml version="1.0" encoding="utf-8"?>
<ds:datastoreItem xmlns:ds="http://schemas.openxmlformats.org/officeDocument/2006/customXml" ds:itemID="{FAAD2813-D34E-4224-893A-52086B883B26}">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21</TotalTime>
  <Words>10953</Words>
  <Application>Microsoft Office PowerPoint</Application>
  <PresentationFormat>Widescreen</PresentationFormat>
  <Paragraphs>898</Paragraphs>
  <Slides>63</Slides>
  <Notes>59</Notes>
  <HiddenSlides>38</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77" baseType="lpstr">
      <vt:lpstr>Arial</vt:lpstr>
      <vt:lpstr>Calibri</vt:lpstr>
      <vt:lpstr>Calibri Light</vt:lpstr>
      <vt:lpstr>Comic Sans MS</vt:lpstr>
      <vt:lpstr>Consolas</vt:lpstr>
      <vt:lpstr>Segoe UI</vt:lpstr>
      <vt:lpstr>Segoe UI  </vt:lpstr>
      <vt:lpstr>Segoe UI Light</vt:lpstr>
      <vt:lpstr>Segoe UI Semibold</vt:lpstr>
      <vt:lpstr>Segoe UI Semilight</vt:lpstr>
      <vt:lpstr>Wingdings</vt:lpstr>
      <vt:lpstr>Dark Blue</vt:lpstr>
      <vt:lpstr>1_Dark Blue</vt:lpstr>
      <vt:lpstr>CorelDRAW</vt:lpstr>
      <vt:lpstr>Azure SQL Database Migration and Sync Data</vt:lpstr>
      <vt:lpstr>PowerPoint Presentation</vt:lpstr>
      <vt:lpstr>Learning Units covered in this Module</vt:lpstr>
      <vt:lpstr>Lesson 1: Steps to migrate your database to Azure SQL Database</vt:lpstr>
      <vt:lpstr>Objectives</vt:lpstr>
      <vt:lpstr>Migration of SQL Server to Azure - Overview</vt:lpstr>
      <vt:lpstr>Migration Steps</vt:lpstr>
      <vt:lpstr>Questions?</vt:lpstr>
      <vt:lpstr>Lesson 2: Is your database ready to move to Azure SQL database?</vt:lpstr>
      <vt:lpstr>Objectives</vt:lpstr>
      <vt:lpstr>Determine Compatibility with DMA</vt:lpstr>
      <vt:lpstr>Demonstration</vt:lpstr>
      <vt:lpstr>Questions?</vt:lpstr>
      <vt:lpstr>Lesson 3: Fix database migration compatibility issues</vt:lpstr>
      <vt:lpstr>Objectives</vt:lpstr>
      <vt:lpstr>Fix Database Migration Compatibility Issues</vt:lpstr>
      <vt:lpstr>Questions?</vt:lpstr>
      <vt:lpstr>Lesson 4: Identify the right Azure SQL Database SKU</vt:lpstr>
      <vt:lpstr>Objectives</vt:lpstr>
      <vt:lpstr>Identify the right Azure SQL Database SKU for your on-premises database</vt:lpstr>
      <vt:lpstr>Identify the right Azure SQL Database SKU for your on-premises database (continued)</vt:lpstr>
      <vt:lpstr>Questions?</vt:lpstr>
      <vt:lpstr>Lesson 5: Migrate a compatible SQL Server database to Azure SQL Database</vt:lpstr>
      <vt:lpstr>Objectives</vt:lpstr>
      <vt:lpstr>Migration Methods – DMA</vt:lpstr>
      <vt:lpstr>Migration Methods – Export/Import with DACPAC File and BCP</vt:lpstr>
      <vt:lpstr>Transactional Replication</vt:lpstr>
      <vt:lpstr>Migration Methods – Data Migration Service</vt:lpstr>
      <vt:lpstr>Migration Methods – DMS</vt:lpstr>
      <vt:lpstr>Migration Methods – DMS (continued)</vt:lpstr>
      <vt:lpstr>Optimizing data transfer performance during migration</vt:lpstr>
      <vt:lpstr>Demonstration</vt:lpstr>
      <vt:lpstr>Migrate a Compatible SQL Server Database to Azure SQL Database</vt:lpstr>
      <vt:lpstr>Questions?</vt:lpstr>
      <vt:lpstr>Knowledge Check</vt:lpstr>
      <vt:lpstr>Lesson 6:  Sync data across multiple cloud and on-premises databases</vt:lpstr>
      <vt:lpstr>Objectives</vt:lpstr>
      <vt:lpstr>What is SQL Data Sync?</vt:lpstr>
      <vt:lpstr>What is SQL Data Sync</vt:lpstr>
      <vt:lpstr>What is SQL Data Sync</vt:lpstr>
      <vt:lpstr>What is SQL Data Sync</vt:lpstr>
      <vt:lpstr>What is SQL Data Sync</vt:lpstr>
      <vt:lpstr>How does Data Sync work?</vt:lpstr>
      <vt:lpstr>Data Sync vs. Transactional Replication</vt:lpstr>
      <vt:lpstr>When to use SQL Data Sync</vt:lpstr>
      <vt:lpstr>Best Practices</vt:lpstr>
      <vt:lpstr>Best Practices (continued)</vt:lpstr>
      <vt:lpstr>Monitor SQL Data Sync with Azure Monitor logs (I/II)</vt:lpstr>
      <vt:lpstr>Monitor SQL Data Sync with Azure Monitor logs (II/II)</vt:lpstr>
      <vt:lpstr>How do you set up these monitoring features with Azure Monitor logs?</vt:lpstr>
      <vt:lpstr>Demonstration</vt:lpstr>
      <vt:lpstr>Step 1 – Create Data Sync Group</vt:lpstr>
      <vt:lpstr>Step 2 – Add Sync Members – Azure DB</vt:lpstr>
      <vt:lpstr>Step 2 – Add Sync Members – On-premises DB</vt:lpstr>
      <vt:lpstr>Step 2 – Add Sync Members – On-premises DB</vt:lpstr>
      <vt:lpstr>Step 2 – Add Sync Members – On-premises DB</vt:lpstr>
      <vt:lpstr>Step 3 – Configure sync group</vt:lpstr>
      <vt:lpstr>Setup Azure SQL Data Sync (if time permits)</vt:lpstr>
      <vt:lpstr>Questions?</vt:lpstr>
      <vt:lpstr>Knowledge Check</vt:lpstr>
      <vt:lpstr>Module Summ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Database Migration and Sync Data</dc:title>
  <dc:creator>Renata Festa</dc:creator>
  <cp:lastModifiedBy>John Deardurff</cp:lastModifiedBy>
  <cp:revision>8</cp:revision>
  <dcterms:created xsi:type="dcterms:W3CDTF">2020-03-30T18:26:36Z</dcterms:created>
  <dcterms:modified xsi:type="dcterms:W3CDTF">2022-01-20T19:1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